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4"/>
  </p:notesMasterIdLst>
  <p:handoutMasterIdLst>
    <p:handoutMasterId r:id="rId15"/>
  </p:handoutMasterIdLst>
  <p:sldIdLst>
    <p:sldId id="11109" r:id="rId5"/>
    <p:sldId id="11110" r:id="rId6"/>
    <p:sldId id="11111" r:id="rId7"/>
    <p:sldId id="11112" r:id="rId8"/>
    <p:sldId id="11113" r:id="rId9"/>
    <p:sldId id="11114" r:id="rId10"/>
    <p:sldId id="11115" r:id="rId11"/>
    <p:sldId id="11116" r:id="rId12"/>
    <p:sldId id="11117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10" clrIdx="0">
    <p:extLst>
      <p:ext uri="{19B8F6BF-5375-455C-9EA6-DF929625EA0E}">
        <p15:presenceInfo xmlns:p15="http://schemas.microsoft.com/office/powerpoint/2012/main" userId="Microsoft Office Us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9545AD0-50AD-469B-B922-7847D9CE8B07}" v="387" dt="2021-04-20T17:41:34.34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721" autoAdjust="0"/>
    <p:restoredTop sz="96327"/>
  </p:normalViewPr>
  <p:slideViewPr>
    <p:cSldViewPr snapToGrid="0" showGuides="1">
      <p:cViewPr varScale="1">
        <p:scale>
          <a:sx n="67" d="100"/>
          <a:sy n="67" d="100"/>
        </p:scale>
        <p:origin x="66" y="93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117" d="100"/>
          <a:sy n="117" d="100"/>
        </p:scale>
        <p:origin x="502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onika" userId="194aff9e-1a7d-48b2-9343-402ad6eea0c6" providerId="ADAL" clId="{29545AD0-50AD-469B-B922-7847D9CE8B07}"/>
    <pc:docChg chg="undo redo custSel addSld delSld modSld">
      <pc:chgData name="Monika" userId="194aff9e-1a7d-48b2-9343-402ad6eea0c6" providerId="ADAL" clId="{29545AD0-50AD-469B-B922-7847D9CE8B07}" dt="2021-04-20T17:41:34.340" v="1066" actId="207"/>
      <pc:docMkLst>
        <pc:docMk/>
      </pc:docMkLst>
      <pc:sldChg chg="del">
        <pc:chgData name="Monika" userId="194aff9e-1a7d-48b2-9343-402ad6eea0c6" providerId="ADAL" clId="{29545AD0-50AD-469B-B922-7847D9CE8B07}" dt="2021-04-20T16:40:48.790" v="4" actId="47"/>
        <pc:sldMkLst>
          <pc:docMk/>
          <pc:sldMk cId="18956086" sldId="258"/>
        </pc:sldMkLst>
      </pc:sldChg>
      <pc:sldChg chg="del">
        <pc:chgData name="Monika" userId="194aff9e-1a7d-48b2-9343-402ad6eea0c6" providerId="ADAL" clId="{29545AD0-50AD-469B-B922-7847D9CE8B07}" dt="2021-04-20T16:40:33.578" v="0" actId="47"/>
        <pc:sldMkLst>
          <pc:docMk/>
          <pc:sldMk cId="1525017552" sldId="11094"/>
        </pc:sldMkLst>
      </pc:sldChg>
      <pc:sldChg chg="del">
        <pc:chgData name="Monika" userId="194aff9e-1a7d-48b2-9343-402ad6eea0c6" providerId="ADAL" clId="{29545AD0-50AD-469B-B922-7847D9CE8B07}" dt="2021-04-20T16:50:22.189" v="415" actId="47"/>
        <pc:sldMkLst>
          <pc:docMk/>
          <pc:sldMk cId="2686192391" sldId="11100"/>
        </pc:sldMkLst>
      </pc:sldChg>
      <pc:sldChg chg="del">
        <pc:chgData name="Monika" userId="194aff9e-1a7d-48b2-9343-402ad6eea0c6" providerId="ADAL" clId="{29545AD0-50AD-469B-B922-7847D9CE8B07}" dt="2021-04-20T17:33:47.106" v="1001" actId="47"/>
        <pc:sldMkLst>
          <pc:docMk/>
          <pc:sldMk cId="2635304700" sldId="11101"/>
        </pc:sldMkLst>
      </pc:sldChg>
      <pc:sldChg chg="del">
        <pc:chgData name="Monika" userId="194aff9e-1a7d-48b2-9343-402ad6eea0c6" providerId="ADAL" clId="{29545AD0-50AD-469B-B922-7847D9CE8B07}" dt="2021-04-20T16:59:33.865" v="809" actId="47"/>
        <pc:sldMkLst>
          <pc:docMk/>
          <pc:sldMk cId="2608849489" sldId="11102"/>
        </pc:sldMkLst>
      </pc:sldChg>
      <pc:sldChg chg="del">
        <pc:chgData name="Monika" userId="194aff9e-1a7d-48b2-9343-402ad6eea0c6" providerId="ADAL" clId="{29545AD0-50AD-469B-B922-7847D9CE8B07}" dt="2021-04-20T16:40:43.027" v="1" actId="47"/>
        <pc:sldMkLst>
          <pc:docMk/>
          <pc:sldMk cId="3609255136" sldId="11103"/>
        </pc:sldMkLst>
      </pc:sldChg>
      <pc:sldChg chg="del">
        <pc:chgData name="Monika" userId="194aff9e-1a7d-48b2-9343-402ad6eea0c6" providerId="ADAL" clId="{29545AD0-50AD-469B-B922-7847D9CE8B07}" dt="2021-04-20T17:03:02.672" v="912" actId="47"/>
        <pc:sldMkLst>
          <pc:docMk/>
          <pc:sldMk cId="3496564455" sldId="11104"/>
        </pc:sldMkLst>
      </pc:sldChg>
      <pc:sldChg chg="del">
        <pc:chgData name="Monika" userId="194aff9e-1a7d-48b2-9343-402ad6eea0c6" providerId="ADAL" clId="{29545AD0-50AD-469B-B922-7847D9CE8B07}" dt="2021-04-20T16:59:32.177" v="808" actId="47"/>
        <pc:sldMkLst>
          <pc:docMk/>
          <pc:sldMk cId="620549104" sldId="11105"/>
        </pc:sldMkLst>
      </pc:sldChg>
      <pc:sldChg chg="del">
        <pc:chgData name="Monika" userId="194aff9e-1a7d-48b2-9343-402ad6eea0c6" providerId="ADAL" clId="{29545AD0-50AD-469B-B922-7847D9CE8B07}" dt="2021-04-20T16:40:46.793" v="3" actId="47"/>
        <pc:sldMkLst>
          <pc:docMk/>
          <pc:sldMk cId="3788660422" sldId="11106"/>
        </pc:sldMkLst>
      </pc:sldChg>
      <pc:sldChg chg="del">
        <pc:chgData name="Monika" userId="194aff9e-1a7d-48b2-9343-402ad6eea0c6" providerId="ADAL" clId="{29545AD0-50AD-469B-B922-7847D9CE8B07}" dt="2021-04-20T16:40:45.495" v="2" actId="47"/>
        <pc:sldMkLst>
          <pc:docMk/>
          <pc:sldMk cId="600835949" sldId="11107"/>
        </pc:sldMkLst>
      </pc:sldChg>
      <pc:sldChg chg="del">
        <pc:chgData name="Monika" userId="194aff9e-1a7d-48b2-9343-402ad6eea0c6" providerId="ADAL" clId="{29545AD0-50AD-469B-B922-7847D9CE8B07}" dt="2021-04-20T17:01:28.663" v="900" actId="47"/>
        <pc:sldMkLst>
          <pc:docMk/>
          <pc:sldMk cId="1172175621" sldId="11108"/>
        </pc:sldMkLst>
      </pc:sldChg>
      <pc:sldChg chg="modSp new mod">
        <pc:chgData name="Monika" userId="194aff9e-1a7d-48b2-9343-402ad6eea0c6" providerId="ADAL" clId="{29545AD0-50AD-469B-B922-7847D9CE8B07}" dt="2021-04-20T17:34:22.593" v="1009" actId="6549"/>
        <pc:sldMkLst>
          <pc:docMk/>
          <pc:sldMk cId="2185566665" sldId="11109"/>
        </pc:sldMkLst>
        <pc:spChg chg="mod">
          <ac:chgData name="Monika" userId="194aff9e-1a7d-48b2-9343-402ad6eea0c6" providerId="ADAL" clId="{29545AD0-50AD-469B-B922-7847D9CE8B07}" dt="2021-04-20T16:41:46.589" v="60" actId="20577"/>
          <ac:spMkLst>
            <pc:docMk/>
            <pc:sldMk cId="2185566665" sldId="11109"/>
            <ac:spMk id="2" creationId="{34D825DF-445B-4777-873B-65D6CC69B201}"/>
          </ac:spMkLst>
        </pc:spChg>
        <pc:spChg chg="mod">
          <ac:chgData name="Monika" userId="194aff9e-1a7d-48b2-9343-402ad6eea0c6" providerId="ADAL" clId="{29545AD0-50AD-469B-B922-7847D9CE8B07}" dt="2021-04-20T17:34:22.593" v="1009" actId="6549"/>
          <ac:spMkLst>
            <pc:docMk/>
            <pc:sldMk cId="2185566665" sldId="11109"/>
            <ac:spMk id="3" creationId="{2E186F32-23EB-4079-9B13-FEFBBBF85058}"/>
          </ac:spMkLst>
        </pc:spChg>
      </pc:sldChg>
      <pc:sldChg chg="delSp modSp new mod">
        <pc:chgData name="Monika" userId="194aff9e-1a7d-48b2-9343-402ad6eea0c6" providerId="ADAL" clId="{29545AD0-50AD-469B-B922-7847D9CE8B07}" dt="2021-04-20T17:34:14.556" v="1008" actId="478"/>
        <pc:sldMkLst>
          <pc:docMk/>
          <pc:sldMk cId="3012418645" sldId="11110"/>
        </pc:sldMkLst>
        <pc:spChg chg="mod">
          <ac:chgData name="Monika" userId="194aff9e-1a7d-48b2-9343-402ad6eea0c6" providerId="ADAL" clId="{29545AD0-50AD-469B-B922-7847D9CE8B07}" dt="2021-04-20T16:43:04.405" v="95" actId="20577"/>
          <ac:spMkLst>
            <pc:docMk/>
            <pc:sldMk cId="3012418645" sldId="11110"/>
            <ac:spMk id="2" creationId="{FFFB5F9F-01A6-4C5C-BDEF-E7DFD2D154DD}"/>
          </ac:spMkLst>
        </pc:spChg>
        <pc:spChg chg="mod">
          <ac:chgData name="Monika" userId="194aff9e-1a7d-48b2-9343-402ad6eea0c6" providerId="ADAL" clId="{29545AD0-50AD-469B-B922-7847D9CE8B07}" dt="2021-04-20T16:54:43.556" v="649" actId="6549"/>
          <ac:spMkLst>
            <pc:docMk/>
            <pc:sldMk cId="3012418645" sldId="11110"/>
            <ac:spMk id="3" creationId="{1A41782A-FB1D-4197-976F-FC5AE453DB03}"/>
          </ac:spMkLst>
        </pc:spChg>
        <pc:spChg chg="del">
          <ac:chgData name="Monika" userId="194aff9e-1a7d-48b2-9343-402ad6eea0c6" providerId="ADAL" clId="{29545AD0-50AD-469B-B922-7847D9CE8B07}" dt="2021-04-20T17:34:14.556" v="1008" actId="478"/>
          <ac:spMkLst>
            <pc:docMk/>
            <pc:sldMk cId="3012418645" sldId="11110"/>
            <ac:spMk id="4" creationId="{784EC8D3-1DC8-4F0A-B78E-297219302347}"/>
          </ac:spMkLst>
        </pc:spChg>
      </pc:sldChg>
      <pc:sldChg chg="delSp modSp add mod modAnim">
        <pc:chgData name="Monika" userId="194aff9e-1a7d-48b2-9343-402ad6eea0c6" providerId="ADAL" clId="{29545AD0-50AD-469B-B922-7847D9CE8B07}" dt="2021-04-20T17:34:11.739" v="1007" actId="478"/>
        <pc:sldMkLst>
          <pc:docMk/>
          <pc:sldMk cId="1855989760" sldId="11111"/>
        </pc:sldMkLst>
        <pc:spChg chg="mod">
          <ac:chgData name="Monika" userId="194aff9e-1a7d-48b2-9343-402ad6eea0c6" providerId="ADAL" clId="{29545AD0-50AD-469B-B922-7847D9CE8B07}" dt="2021-04-20T16:45:46.256" v="389" actId="20577"/>
          <ac:spMkLst>
            <pc:docMk/>
            <pc:sldMk cId="1855989760" sldId="11111"/>
            <ac:spMk id="2" creationId="{FFFB5F9F-01A6-4C5C-BDEF-E7DFD2D154DD}"/>
          </ac:spMkLst>
        </pc:spChg>
        <pc:spChg chg="mod">
          <ac:chgData name="Monika" userId="194aff9e-1a7d-48b2-9343-402ad6eea0c6" providerId="ADAL" clId="{29545AD0-50AD-469B-B922-7847D9CE8B07}" dt="2021-04-20T16:46:46.004" v="405" actId="113"/>
          <ac:spMkLst>
            <pc:docMk/>
            <pc:sldMk cId="1855989760" sldId="11111"/>
            <ac:spMk id="3" creationId="{1A41782A-FB1D-4197-976F-FC5AE453DB03}"/>
          </ac:spMkLst>
        </pc:spChg>
        <pc:spChg chg="del">
          <ac:chgData name="Monika" userId="194aff9e-1a7d-48b2-9343-402ad6eea0c6" providerId="ADAL" clId="{29545AD0-50AD-469B-B922-7847D9CE8B07}" dt="2021-04-20T17:34:11.739" v="1007" actId="478"/>
          <ac:spMkLst>
            <pc:docMk/>
            <pc:sldMk cId="1855989760" sldId="11111"/>
            <ac:spMk id="4" creationId="{784EC8D3-1DC8-4F0A-B78E-297219302347}"/>
          </ac:spMkLst>
        </pc:spChg>
      </pc:sldChg>
      <pc:sldChg chg="delSp modSp add mod modAnim">
        <pc:chgData name="Monika" userId="194aff9e-1a7d-48b2-9343-402ad6eea0c6" providerId="ADAL" clId="{29545AD0-50AD-469B-B922-7847D9CE8B07}" dt="2021-04-20T17:34:07.556" v="1006" actId="478"/>
        <pc:sldMkLst>
          <pc:docMk/>
          <pc:sldMk cId="2279247670" sldId="11112"/>
        </pc:sldMkLst>
        <pc:spChg chg="mod">
          <ac:chgData name="Monika" userId="194aff9e-1a7d-48b2-9343-402ad6eea0c6" providerId="ADAL" clId="{29545AD0-50AD-469B-B922-7847D9CE8B07}" dt="2021-04-20T16:56:51.740" v="733" actId="20577"/>
          <ac:spMkLst>
            <pc:docMk/>
            <pc:sldMk cId="2279247670" sldId="11112"/>
            <ac:spMk id="3" creationId="{1A41782A-FB1D-4197-976F-FC5AE453DB03}"/>
          </ac:spMkLst>
        </pc:spChg>
        <pc:spChg chg="del">
          <ac:chgData name="Monika" userId="194aff9e-1a7d-48b2-9343-402ad6eea0c6" providerId="ADAL" clId="{29545AD0-50AD-469B-B922-7847D9CE8B07}" dt="2021-04-20T17:34:07.556" v="1006" actId="478"/>
          <ac:spMkLst>
            <pc:docMk/>
            <pc:sldMk cId="2279247670" sldId="11112"/>
            <ac:spMk id="4" creationId="{784EC8D3-1DC8-4F0A-B78E-297219302347}"/>
          </ac:spMkLst>
        </pc:spChg>
      </pc:sldChg>
      <pc:sldChg chg="delSp modSp add mod modAnim">
        <pc:chgData name="Monika" userId="194aff9e-1a7d-48b2-9343-402ad6eea0c6" providerId="ADAL" clId="{29545AD0-50AD-469B-B922-7847D9CE8B07}" dt="2021-04-20T17:34:04.088" v="1005" actId="478"/>
        <pc:sldMkLst>
          <pc:docMk/>
          <pc:sldMk cId="2784548803" sldId="11113"/>
        </pc:sldMkLst>
        <pc:spChg chg="mod">
          <ac:chgData name="Monika" userId="194aff9e-1a7d-48b2-9343-402ad6eea0c6" providerId="ADAL" clId="{29545AD0-50AD-469B-B922-7847D9CE8B07}" dt="2021-04-20T16:59:13.140" v="782" actId="6549"/>
          <ac:spMkLst>
            <pc:docMk/>
            <pc:sldMk cId="2784548803" sldId="11113"/>
            <ac:spMk id="3" creationId="{1A41782A-FB1D-4197-976F-FC5AE453DB03}"/>
          </ac:spMkLst>
        </pc:spChg>
        <pc:spChg chg="del">
          <ac:chgData name="Monika" userId="194aff9e-1a7d-48b2-9343-402ad6eea0c6" providerId="ADAL" clId="{29545AD0-50AD-469B-B922-7847D9CE8B07}" dt="2021-04-20T17:34:04.088" v="1005" actId="478"/>
          <ac:spMkLst>
            <pc:docMk/>
            <pc:sldMk cId="2784548803" sldId="11113"/>
            <ac:spMk id="4" creationId="{784EC8D3-1DC8-4F0A-B78E-297219302347}"/>
          </ac:spMkLst>
        </pc:spChg>
      </pc:sldChg>
      <pc:sldChg chg="delSp modSp add mod modAnim">
        <pc:chgData name="Monika" userId="194aff9e-1a7d-48b2-9343-402ad6eea0c6" providerId="ADAL" clId="{29545AD0-50AD-469B-B922-7847D9CE8B07}" dt="2021-04-20T17:33:54.277" v="1003" actId="478"/>
        <pc:sldMkLst>
          <pc:docMk/>
          <pc:sldMk cId="1382972434" sldId="11114"/>
        </pc:sldMkLst>
        <pc:spChg chg="mod">
          <ac:chgData name="Monika" userId="194aff9e-1a7d-48b2-9343-402ad6eea0c6" providerId="ADAL" clId="{29545AD0-50AD-469B-B922-7847D9CE8B07}" dt="2021-04-20T16:59:27.806" v="807" actId="6549"/>
          <ac:spMkLst>
            <pc:docMk/>
            <pc:sldMk cId="1382972434" sldId="11114"/>
            <ac:spMk id="3" creationId="{1A41782A-FB1D-4197-976F-FC5AE453DB03}"/>
          </ac:spMkLst>
        </pc:spChg>
        <pc:spChg chg="del">
          <ac:chgData name="Monika" userId="194aff9e-1a7d-48b2-9343-402ad6eea0c6" providerId="ADAL" clId="{29545AD0-50AD-469B-B922-7847D9CE8B07}" dt="2021-04-20T17:33:54.277" v="1003" actId="478"/>
          <ac:spMkLst>
            <pc:docMk/>
            <pc:sldMk cId="1382972434" sldId="11114"/>
            <ac:spMk id="4" creationId="{784EC8D3-1DC8-4F0A-B78E-297219302347}"/>
          </ac:spMkLst>
        </pc:spChg>
      </pc:sldChg>
      <pc:sldChg chg="delSp modSp add mod modAnim">
        <pc:chgData name="Monika" userId="194aff9e-1a7d-48b2-9343-402ad6eea0c6" providerId="ADAL" clId="{29545AD0-50AD-469B-B922-7847D9CE8B07}" dt="2021-04-20T17:33:59.923" v="1004" actId="478"/>
        <pc:sldMkLst>
          <pc:docMk/>
          <pc:sldMk cId="3366231965" sldId="11115"/>
        </pc:sldMkLst>
        <pc:spChg chg="mod">
          <ac:chgData name="Monika" userId="194aff9e-1a7d-48b2-9343-402ad6eea0c6" providerId="ADAL" clId="{29545AD0-50AD-469B-B922-7847D9CE8B07}" dt="2021-04-20T17:00:40.484" v="899" actId="6549"/>
          <ac:spMkLst>
            <pc:docMk/>
            <pc:sldMk cId="3366231965" sldId="11115"/>
            <ac:spMk id="3" creationId="{1A41782A-FB1D-4197-976F-FC5AE453DB03}"/>
          </ac:spMkLst>
        </pc:spChg>
        <pc:spChg chg="del">
          <ac:chgData name="Monika" userId="194aff9e-1a7d-48b2-9343-402ad6eea0c6" providerId="ADAL" clId="{29545AD0-50AD-469B-B922-7847D9CE8B07}" dt="2021-04-20T17:33:59.923" v="1004" actId="478"/>
          <ac:spMkLst>
            <pc:docMk/>
            <pc:sldMk cId="3366231965" sldId="11115"/>
            <ac:spMk id="4" creationId="{784EC8D3-1DC8-4F0A-B78E-297219302347}"/>
          </ac:spMkLst>
        </pc:spChg>
      </pc:sldChg>
      <pc:sldChg chg="addSp delSp modSp new mod modAnim">
        <pc:chgData name="Monika" userId="194aff9e-1a7d-48b2-9343-402ad6eea0c6" providerId="ADAL" clId="{29545AD0-50AD-469B-B922-7847D9CE8B07}" dt="2021-04-20T17:33:30.356" v="999" actId="207"/>
        <pc:sldMkLst>
          <pc:docMk/>
          <pc:sldMk cId="535394687" sldId="11116"/>
        </pc:sldMkLst>
        <pc:spChg chg="del mod">
          <ac:chgData name="Monika" userId="194aff9e-1a7d-48b2-9343-402ad6eea0c6" providerId="ADAL" clId="{29545AD0-50AD-469B-B922-7847D9CE8B07}" dt="2021-04-20T17:31:32.356" v="970" actId="478"/>
          <ac:spMkLst>
            <pc:docMk/>
            <pc:sldMk cId="535394687" sldId="11116"/>
            <ac:spMk id="2" creationId="{F2B3C7EF-2CB6-40F8-933B-EECD6D662A4B}"/>
          </ac:spMkLst>
        </pc:spChg>
        <pc:spChg chg="add mod">
          <ac:chgData name="Monika" userId="194aff9e-1a7d-48b2-9343-402ad6eea0c6" providerId="ADAL" clId="{29545AD0-50AD-469B-B922-7847D9CE8B07}" dt="2021-04-20T17:31:44.671" v="992" actId="1035"/>
          <ac:spMkLst>
            <pc:docMk/>
            <pc:sldMk cId="535394687" sldId="11116"/>
            <ac:spMk id="4" creationId="{7C50C0A8-696B-4B7B-BB5C-3DC057C9E18F}"/>
          </ac:spMkLst>
        </pc:spChg>
        <pc:spChg chg="add mod">
          <ac:chgData name="Monika" userId="194aff9e-1a7d-48b2-9343-402ad6eea0c6" providerId="ADAL" clId="{29545AD0-50AD-469B-B922-7847D9CE8B07}" dt="2021-04-20T17:31:44.671" v="992" actId="1035"/>
          <ac:spMkLst>
            <pc:docMk/>
            <pc:sldMk cId="535394687" sldId="11116"/>
            <ac:spMk id="5" creationId="{0D19AF72-69CA-419E-A16D-C1BE55A70E99}"/>
          </ac:spMkLst>
        </pc:spChg>
        <pc:spChg chg="add mod">
          <ac:chgData name="Monika" userId="194aff9e-1a7d-48b2-9343-402ad6eea0c6" providerId="ADAL" clId="{29545AD0-50AD-469B-B922-7847D9CE8B07}" dt="2021-04-20T17:32:48.454" v="994" actId="113"/>
          <ac:spMkLst>
            <pc:docMk/>
            <pc:sldMk cId="535394687" sldId="11116"/>
            <ac:spMk id="6" creationId="{EA5626E5-A5D5-4FD3-9E73-1AF31F636EEB}"/>
          </ac:spMkLst>
        </pc:spChg>
        <pc:graphicFrameChg chg="add mod">
          <ac:chgData name="Monika" userId="194aff9e-1a7d-48b2-9343-402ad6eea0c6" providerId="ADAL" clId="{29545AD0-50AD-469B-B922-7847D9CE8B07}" dt="2021-04-20T17:33:30.356" v="999" actId="207"/>
          <ac:graphicFrameMkLst>
            <pc:docMk/>
            <pc:sldMk cId="535394687" sldId="11116"/>
            <ac:graphicFrameMk id="3" creationId="{D5474A24-A4C9-46E3-A41E-D983A89334BC}"/>
          </ac:graphicFrameMkLst>
        </pc:graphicFrameChg>
      </pc:sldChg>
      <pc:sldChg chg="addSp delSp modSp new mod modAnim">
        <pc:chgData name="Monika" userId="194aff9e-1a7d-48b2-9343-402ad6eea0c6" providerId="ADAL" clId="{29545AD0-50AD-469B-B922-7847D9CE8B07}" dt="2021-04-20T17:41:34.340" v="1066" actId="207"/>
        <pc:sldMkLst>
          <pc:docMk/>
          <pc:sldMk cId="2061364144" sldId="11117"/>
        </pc:sldMkLst>
        <pc:spChg chg="del">
          <ac:chgData name="Monika" userId="194aff9e-1a7d-48b2-9343-402ad6eea0c6" providerId="ADAL" clId="{29545AD0-50AD-469B-B922-7847D9CE8B07}" dt="2021-04-20T17:33:49.936" v="1002" actId="478"/>
          <ac:spMkLst>
            <pc:docMk/>
            <pc:sldMk cId="2061364144" sldId="11117"/>
            <ac:spMk id="2" creationId="{4AD8AF17-3CB8-438E-8BAF-1AD136D7DF57}"/>
          </ac:spMkLst>
        </pc:spChg>
        <pc:spChg chg="add mod">
          <ac:chgData name="Monika" userId="194aff9e-1a7d-48b2-9343-402ad6eea0c6" providerId="ADAL" clId="{29545AD0-50AD-469B-B922-7847D9CE8B07}" dt="2021-04-20T17:40:27.911" v="1057" actId="1076"/>
          <ac:spMkLst>
            <pc:docMk/>
            <pc:sldMk cId="2061364144" sldId="11117"/>
            <ac:spMk id="4" creationId="{31BC8533-F882-4DBF-835F-81455E8D3979}"/>
          </ac:spMkLst>
        </pc:spChg>
        <pc:spChg chg="add mod">
          <ac:chgData name="Monika" userId="194aff9e-1a7d-48b2-9343-402ad6eea0c6" providerId="ADAL" clId="{29545AD0-50AD-469B-B922-7847D9CE8B07}" dt="2021-04-20T17:39:18.823" v="1052" actId="207"/>
          <ac:spMkLst>
            <pc:docMk/>
            <pc:sldMk cId="2061364144" sldId="11117"/>
            <ac:spMk id="5" creationId="{DB7A132D-953E-46D4-8ADF-63B3C7307EE0}"/>
          </ac:spMkLst>
        </pc:spChg>
        <pc:spChg chg="add mod">
          <ac:chgData name="Monika" userId="194aff9e-1a7d-48b2-9343-402ad6eea0c6" providerId="ADAL" clId="{29545AD0-50AD-469B-B922-7847D9CE8B07}" dt="2021-04-20T17:40:45.165" v="1059" actId="1076"/>
          <ac:spMkLst>
            <pc:docMk/>
            <pc:sldMk cId="2061364144" sldId="11117"/>
            <ac:spMk id="6" creationId="{58C495AB-242E-4414-BE20-E25F9548F9A1}"/>
          </ac:spMkLst>
        </pc:spChg>
        <pc:spChg chg="add mod">
          <ac:chgData name="Monika" userId="194aff9e-1a7d-48b2-9343-402ad6eea0c6" providerId="ADAL" clId="{29545AD0-50AD-469B-B922-7847D9CE8B07}" dt="2021-04-20T17:41:34.340" v="1066" actId="207"/>
          <ac:spMkLst>
            <pc:docMk/>
            <pc:sldMk cId="2061364144" sldId="11117"/>
            <ac:spMk id="7" creationId="{9BC13EB2-6E39-4307-8AA7-7279A4E27133}"/>
          </ac:spMkLst>
        </pc:spChg>
        <pc:spChg chg="add mod">
          <ac:chgData name="Monika" userId="194aff9e-1a7d-48b2-9343-402ad6eea0c6" providerId="ADAL" clId="{29545AD0-50AD-469B-B922-7847D9CE8B07}" dt="2021-04-20T17:40:54.567" v="1061" actId="1076"/>
          <ac:spMkLst>
            <pc:docMk/>
            <pc:sldMk cId="2061364144" sldId="11117"/>
            <ac:spMk id="8" creationId="{55B1D8C6-3943-43E8-929D-93B4177E5B57}"/>
          </ac:spMkLst>
        </pc:spChg>
        <pc:spChg chg="add mod">
          <ac:chgData name="Monika" userId="194aff9e-1a7d-48b2-9343-402ad6eea0c6" providerId="ADAL" clId="{29545AD0-50AD-469B-B922-7847D9CE8B07}" dt="2021-04-20T17:39:13.629" v="1051" actId="207"/>
          <ac:spMkLst>
            <pc:docMk/>
            <pc:sldMk cId="2061364144" sldId="11117"/>
            <ac:spMk id="9" creationId="{B9F97EEF-7150-4177-952A-0393FD206E78}"/>
          </ac:spMkLst>
        </pc:spChg>
        <pc:spChg chg="add mod">
          <ac:chgData name="Monika" userId="194aff9e-1a7d-48b2-9343-402ad6eea0c6" providerId="ADAL" clId="{29545AD0-50AD-469B-B922-7847D9CE8B07}" dt="2021-04-20T17:38:58.223" v="1050" actId="113"/>
          <ac:spMkLst>
            <pc:docMk/>
            <pc:sldMk cId="2061364144" sldId="11117"/>
            <ac:spMk id="10" creationId="{CDE518DA-B810-4103-842E-BF40BBF39D3F}"/>
          </ac:spMkLst>
        </pc:spChg>
        <pc:graphicFrameChg chg="add mod">
          <ac:chgData name="Monika" userId="194aff9e-1a7d-48b2-9343-402ad6eea0c6" providerId="ADAL" clId="{29545AD0-50AD-469B-B922-7847D9CE8B07}" dt="2021-04-20T17:41:24.809" v="1065" actId="207"/>
          <ac:graphicFrameMkLst>
            <pc:docMk/>
            <pc:sldMk cId="2061364144" sldId="11117"/>
            <ac:graphicFrameMk id="3" creationId="{25619E77-B878-458A-ABDC-1E5479A10324}"/>
          </ac:graphicFrameMkLst>
        </pc:graphicFrame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image" Target="../media/image22.png"/><Relationship Id="rId4" Type="http://schemas.openxmlformats.org/officeDocument/2006/relationships/image" Target="../media/image25.png"/></Relationships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13" Type="http://schemas.openxmlformats.org/officeDocument/2006/relationships/image" Target="../media/image34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12" Type="http://schemas.openxmlformats.org/officeDocument/2006/relationships/image" Target="../media/image33.svg"/><Relationship Id="rId2" Type="http://schemas.openxmlformats.org/officeDocument/2006/relationships/image" Target="../media/image23.png"/><Relationship Id="rId1" Type="http://schemas.openxmlformats.org/officeDocument/2006/relationships/image" Target="../media/image22.png"/><Relationship Id="rId6" Type="http://schemas.openxmlformats.org/officeDocument/2006/relationships/image" Target="../media/image27.sv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0" Type="http://schemas.openxmlformats.org/officeDocument/2006/relationships/image" Target="../media/image31.svg"/><Relationship Id="rId4" Type="http://schemas.openxmlformats.org/officeDocument/2006/relationships/image" Target="../media/image25.png"/><Relationship Id="rId9" Type="http://schemas.openxmlformats.org/officeDocument/2006/relationships/image" Target="../media/image30.png"/><Relationship Id="rId14" Type="http://schemas.openxmlformats.org/officeDocument/2006/relationships/image" Target="../media/image35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image" Target="../media/image22.png"/><Relationship Id="rId4" Type="http://schemas.openxmlformats.org/officeDocument/2006/relationships/image" Target="../media/image25.pn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13" Type="http://schemas.openxmlformats.org/officeDocument/2006/relationships/image" Target="../media/image34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12" Type="http://schemas.openxmlformats.org/officeDocument/2006/relationships/image" Target="../media/image33.svg"/><Relationship Id="rId2" Type="http://schemas.openxmlformats.org/officeDocument/2006/relationships/image" Target="../media/image23.png"/><Relationship Id="rId1" Type="http://schemas.openxmlformats.org/officeDocument/2006/relationships/image" Target="../media/image22.png"/><Relationship Id="rId6" Type="http://schemas.openxmlformats.org/officeDocument/2006/relationships/image" Target="../media/image27.sv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0" Type="http://schemas.openxmlformats.org/officeDocument/2006/relationships/image" Target="../media/image31.svg"/><Relationship Id="rId4" Type="http://schemas.openxmlformats.org/officeDocument/2006/relationships/image" Target="../media/image25.png"/><Relationship Id="rId9" Type="http://schemas.openxmlformats.org/officeDocument/2006/relationships/image" Target="../media/image30.png"/><Relationship Id="rId14" Type="http://schemas.openxmlformats.org/officeDocument/2006/relationships/image" Target="../media/image35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82BC82A-C114-4BF7-B448-63B4DBDAC8AD}" type="doc">
      <dgm:prSet loTypeId="urn:microsoft.com/office/officeart/2005/8/layout/hList7" loCatId="list" qsTypeId="urn:microsoft.com/office/officeart/2005/8/quickstyle/simple1" qsCatId="simple" csTypeId="urn:microsoft.com/office/officeart/2005/8/colors/accent1_2" csCatId="accent1" phldr="1"/>
      <dgm:spPr/>
    </dgm:pt>
    <dgm:pt modelId="{ABFA7FC7-C1EB-490C-B93F-205EFF16D779}">
      <dgm:prSet phldrT="[Text]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Admissions</a:t>
          </a:r>
        </a:p>
      </dgm:t>
    </dgm:pt>
    <dgm:pt modelId="{03557D83-4032-4742-A5B7-BDA021E279BC}" type="parTrans" cxnId="{FC58BB77-A7F6-4465-9FE6-C0C728C18F36}">
      <dgm:prSet/>
      <dgm:spPr/>
      <dgm:t>
        <a:bodyPr/>
        <a:lstStyle/>
        <a:p>
          <a:endParaRPr lang="en-US"/>
        </a:p>
      </dgm:t>
    </dgm:pt>
    <dgm:pt modelId="{92935A17-D514-409F-A316-396A918CAB93}" type="sibTrans" cxnId="{FC58BB77-A7F6-4465-9FE6-C0C728C18F36}">
      <dgm:prSet/>
      <dgm:spPr/>
      <dgm:t>
        <a:bodyPr/>
        <a:lstStyle/>
        <a:p>
          <a:endParaRPr lang="en-US"/>
        </a:p>
      </dgm:t>
    </dgm:pt>
    <dgm:pt modelId="{9FB93978-6058-4DD5-960A-FC27E3C7F27C}">
      <dgm:prSet phldrT="[Text]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Financial Aid &amp; Student Accounts</a:t>
          </a:r>
        </a:p>
      </dgm:t>
    </dgm:pt>
    <dgm:pt modelId="{182FD308-C853-4E12-B282-C9E599258D59}" type="parTrans" cxnId="{566CDA54-4967-4DDE-9488-C11763819F2E}">
      <dgm:prSet/>
      <dgm:spPr/>
      <dgm:t>
        <a:bodyPr/>
        <a:lstStyle/>
        <a:p>
          <a:endParaRPr lang="en-US"/>
        </a:p>
      </dgm:t>
    </dgm:pt>
    <dgm:pt modelId="{8E27E8A7-FB4D-4353-9252-D0B0D2EEA68B}" type="sibTrans" cxnId="{566CDA54-4967-4DDE-9488-C11763819F2E}">
      <dgm:prSet/>
      <dgm:spPr/>
      <dgm:t>
        <a:bodyPr/>
        <a:lstStyle/>
        <a:p>
          <a:endParaRPr lang="en-US"/>
        </a:p>
      </dgm:t>
    </dgm:pt>
    <dgm:pt modelId="{753BEE55-ABCE-46A6-9AD6-C657ABAA9A77}">
      <dgm:prSet phldrT="[Text]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Academics</a:t>
          </a:r>
        </a:p>
      </dgm:t>
    </dgm:pt>
    <dgm:pt modelId="{E9ECB6A0-46E3-4908-A946-5035E33807A4}" type="sibTrans" cxnId="{B21E0609-3B8A-4092-B567-54D45B05EFEF}">
      <dgm:prSet/>
      <dgm:spPr/>
      <dgm:t>
        <a:bodyPr/>
        <a:lstStyle/>
        <a:p>
          <a:endParaRPr lang="en-US"/>
        </a:p>
      </dgm:t>
    </dgm:pt>
    <dgm:pt modelId="{9F4F11CA-5569-4B8B-AF90-160EDCC0D032}" type="parTrans" cxnId="{B21E0609-3B8A-4092-B567-54D45B05EFEF}">
      <dgm:prSet/>
      <dgm:spPr/>
      <dgm:t>
        <a:bodyPr/>
        <a:lstStyle/>
        <a:p>
          <a:endParaRPr lang="en-US"/>
        </a:p>
      </dgm:t>
    </dgm:pt>
    <dgm:pt modelId="{B604F25F-010B-4FD6-87DE-3C7927BD62ED}">
      <dgm:prSet phldrT="[Text]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Anthology</a:t>
          </a:r>
        </a:p>
        <a:p>
          <a:r>
            <a:rPr lang="en-US" dirty="0">
              <a:solidFill>
                <a:schemeClr val="tx1"/>
              </a:solidFill>
            </a:rPr>
            <a:t>Finance</a:t>
          </a:r>
        </a:p>
      </dgm:t>
    </dgm:pt>
    <dgm:pt modelId="{86791FFA-F3B8-4D38-8A73-0BDE05949AC4}" type="parTrans" cxnId="{F50FB488-1319-4CF6-9DF1-DE138D19BBEB}">
      <dgm:prSet/>
      <dgm:spPr/>
      <dgm:t>
        <a:bodyPr/>
        <a:lstStyle/>
        <a:p>
          <a:endParaRPr lang="en-US"/>
        </a:p>
      </dgm:t>
    </dgm:pt>
    <dgm:pt modelId="{AC95F0F4-DDB2-44A7-A2B8-A94BCE2A873E}" type="sibTrans" cxnId="{F50FB488-1319-4CF6-9DF1-DE138D19BBEB}">
      <dgm:prSet/>
      <dgm:spPr/>
      <dgm:t>
        <a:bodyPr/>
        <a:lstStyle/>
        <a:p>
          <a:endParaRPr lang="en-US"/>
        </a:p>
      </dgm:t>
    </dgm:pt>
    <dgm:pt modelId="{F2BC02C7-2392-4F68-B48D-D9305653141D}" type="pres">
      <dgm:prSet presAssocID="{782BC82A-C114-4BF7-B448-63B4DBDAC8AD}" presName="Name0" presStyleCnt="0">
        <dgm:presLayoutVars>
          <dgm:dir/>
          <dgm:resizeHandles val="exact"/>
        </dgm:presLayoutVars>
      </dgm:prSet>
      <dgm:spPr/>
    </dgm:pt>
    <dgm:pt modelId="{16AFF17F-36C1-4D36-A1BC-16C2E59278E0}" type="pres">
      <dgm:prSet presAssocID="{782BC82A-C114-4BF7-B448-63B4DBDAC8AD}" presName="fgShape" presStyleLbl="fgShp" presStyleIdx="0" presStyleCnt="1" custScaleY="197610" custLinFactNeighborY="-14316"/>
      <dgm:spPr>
        <a:solidFill>
          <a:schemeClr val="bg2">
            <a:lumMod val="90000"/>
          </a:schemeClr>
        </a:solidFill>
      </dgm:spPr>
    </dgm:pt>
    <dgm:pt modelId="{55D51C34-AD2A-46FA-B61A-7B7EC3489C96}" type="pres">
      <dgm:prSet presAssocID="{782BC82A-C114-4BF7-B448-63B4DBDAC8AD}" presName="linComp" presStyleCnt="0"/>
      <dgm:spPr/>
    </dgm:pt>
    <dgm:pt modelId="{51F8B917-D3CB-401C-98C9-B853E163D6DB}" type="pres">
      <dgm:prSet presAssocID="{753BEE55-ABCE-46A6-9AD6-C657ABAA9A77}" presName="compNode" presStyleCnt="0"/>
      <dgm:spPr/>
    </dgm:pt>
    <dgm:pt modelId="{ECC6DFE3-68C2-4C1B-9AE4-F25A739B6E6D}" type="pres">
      <dgm:prSet presAssocID="{753BEE55-ABCE-46A6-9AD6-C657ABAA9A77}" presName="bkgdShape" presStyleLbl="node1" presStyleIdx="0" presStyleCnt="4"/>
      <dgm:spPr/>
    </dgm:pt>
    <dgm:pt modelId="{AE501D7E-E68E-4EAA-8D3A-7E5090FD4C51}" type="pres">
      <dgm:prSet presAssocID="{753BEE55-ABCE-46A6-9AD6-C657ABAA9A77}" presName="nodeTx" presStyleLbl="node1" presStyleIdx="0" presStyleCnt="4">
        <dgm:presLayoutVars>
          <dgm:bulletEnabled val="1"/>
        </dgm:presLayoutVars>
      </dgm:prSet>
      <dgm:spPr/>
    </dgm:pt>
    <dgm:pt modelId="{9CFB48F0-579B-4E18-AE9F-9CBD37629F43}" type="pres">
      <dgm:prSet presAssocID="{753BEE55-ABCE-46A6-9AD6-C657ABAA9A77}" presName="invisiNode" presStyleLbl="node1" presStyleIdx="0" presStyleCnt="4"/>
      <dgm:spPr/>
    </dgm:pt>
    <dgm:pt modelId="{A764E457-3AC6-4386-AADE-F64BA54005EC}" type="pres">
      <dgm:prSet presAssocID="{753BEE55-ABCE-46A6-9AD6-C657ABAA9A77}" presName="imagNode" presStyleLbl="fgImgPlac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361EC2CE-1C98-4B8D-AD9A-0725D762CF8E}" type="pres">
      <dgm:prSet presAssocID="{E9ECB6A0-46E3-4908-A946-5035E33807A4}" presName="sibTrans" presStyleLbl="sibTrans2D1" presStyleIdx="0" presStyleCnt="0"/>
      <dgm:spPr/>
    </dgm:pt>
    <dgm:pt modelId="{E58AB550-A745-488F-B818-02202FB5F4CC}" type="pres">
      <dgm:prSet presAssocID="{ABFA7FC7-C1EB-490C-B93F-205EFF16D779}" presName="compNode" presStyleCnt="0"/>
      <dgm:spPr/>
    </dgm:pt>
    <dgm:pt modelId="{084680F7-4EEF-46E5-8044-905449814E2D}" type="pres">
      <dgm:prSet presAssocID="{ABFA7FC7-C1EB-490C-B93F-205EFF16D779}" presName="bkgdShape" presStyleLbl="node1" presStyleIdx="1" presStyleCnt="4"/>
      <dgm:spPr/>
    </dgm:pt>
    <dgm:pt modelId="{E11DBDCF-FEBA-4C7F-95BB-02D2C8FD0B1C}" type="pres">
      <dgm:prSet presAssocID="{ABFA7FC7-C1EB-490C-B93F-205EFF16D779}" presName="nodeTx" presStyleLbl="node1" presStyleIdx="1" presStyleCnt="4">
        <dgm:presLayoutVars>
          <dgm:bulletEnabled val="1"/>
        </dgm:presLayoutVars>
      </dgm:prSet>
      <dgm:spPr/>
    </dgm:pt>
    <dgm:pt modelId="{E4098978-C8AA-4D88-8679-02A927625BBA}" type="pres">
      <dgm:prSet presAssocID="{ABFA7FC7-C1EB-490C-B93F-205EFF16D779}" presName="invisiNode" presStyleLbl="node1" presStyleIdx="1" presStyleCnt="4"/>
      <dgm:spPr/>
    </dgm:pt>
    <dgm:pt modelId="{7FB773B4-9BAE-4ABE-9F22-2F15BE0CF1C0}" type="pres">
      <dgm:prSet presAssocID="{ABFA7FC7-C1EB-490C-B93F-205EFF16D779}" presName="imagNode" presStyleLbl="fgImgPlace1" presStyleIdx="1" presStyleCnt="4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8D3E8BF9-7034-4915-8C02-210336CF1EBF}" type="pres">
      <dgm:prSet presAssocID="{92935A17-D514-409F-A316-396A918CAB93}" presName="sibTrans" presStyleLbl="sibTrans2D1" presStyleIdx="0" presStyleCnt="0"/>
      <dgm:spPr/>
    </dgm:pt>
    <dgm:pt modelId="{6F72FA94-020F-44D8-865D-A12AAE94AD06}" type="pres">
      <dgm:prSet presAssocID="{9FB93978-6058-4DD5-960A-FC27E3C7F27C}" presName="compNode" presStyleCnt="0"/>
      <dgm:spPr/>
    </dgm:pt>
    <dgm:pt modelId="{E0448EB4-A1FA-4B5C-A7BD-578D099C49CB}" type="pres">
      <dgm:prSet presAssocID="{9FB93978-6058-4DD5-960A-FC27E3C7F27C}" presName="bkgdShape" presStyleLbl="node1" presStyleIdx="2" presStyleCnt="4"/>
      <dgm:spPr/>
    </dgm:pt>
    <dgm:pt modelId="{E03A6198-3871-44A9-9069-761435F747F5}" type="pres">
      <dgm:prSet presAssocID="{9FB93978-6058-4DD5-960A-FC27E3C7F27C}" presName="nodeTx" presStyleLbl="node1" presStyleIdx="2" presStyleCnt="4">
        <dgm:presLayoutVars>
          <dgm:bulletEnabled val="1"/>
        </dgm:presLayoutVars>
      </dgm:prSet>
      <dgm:spPr/>
    </dgm:pt>
    <dgm:pt modelId="{9E3A57EA-7EA9-422C-AE08-FA11D4E98250}" type="pres">
      <dgm:prSet presAssocID="{9FB93978-6058-4DD5-960A-FC27E3C7F27C}" presName="invisiNode" presStyleLbl="node1" presStyleIdx="2" presStyleCnt="4"/>
      <dgm:spPr/>
    </dgm:pt>
    <dgm:pt modelId="{770A19E3-379B-4C00-87FC-54CAA70BF40F}" type="pres">
      <dgm:prSet presAssocID="{9FB93978-6058-4DD5-960A-FC27E3C7F27C}" presName="imagNode" presStyleLbl="fgImgPlace1" presStyleIdx="2" presStyleCnt="4"/>
      <dgm:spPr>
        <a:blipFill>
          <a:blip xmlns:r="http://schemas.openxmlformats.org/officeDocument/2006/relationships" r:embed="rId3"/>
          <a:srcRect/>
          <a:stretch>
            <a:fillRect/>
          </a:stretch>
        </a:blipFill>
      </dgm:spPr>
    </dgm:pt>
    <dgm:pt modelId="{D363E7DF-7731-44D0-BACB-72FE2F9DC0B3}" type="pres">
      <dgm:prSet presAssocID="{8E27E8A7-FB4D-4353-9252-D0B0D2EEA68B}" presName="sibTrans" presStyleLbl="sibTrans2D1" presStyleIdx="0" presStyleCnt="0"/>
      <dgm:spPr/>
    </dgm:pt>
    <dgm:pt modelId="{0DCE3066-341A-4C16-AFA2-3B4E6C1ABA8B}" type="pres">
      <dgm:prSet presAssocID="{B604F25F-010B-4FD6-87DE-3C7927BD62ED}" presName="compNode" presStyleCnt="0"/>
      <dgm:spPr/>
    </dgm:pt>
    <dgm:pt modelId="{F20D745B-2BAC-4CA5-B147-E2826F4F9956}" type="pres">
      <dgm:prSet presAssocID="{B604F25F-010B-4FD6-87DE-3C7927BD62ED}" presName="bkgdShape" presStyleLbl="node1" presStyleIdx="3" presStyleCnt="4"/>
      <dgm:spPr/>
    </dgm:pt>
    <dgm:pt modelId="{6CC355C7-C3E3-46B8-859F-2ECE44813530}" type="pres">
      <dgm:prSet presAssocID="{B604F25F-010B-4FD6-87DE-3C7927BD62ED}" presName="nodeTx" presStyleLbl="node1" presStyleIdx="3" presStyleCnt="4">
        <dgm:presLayoutVars>
          <dgm:bulletEnabled val="1"/>
        </dgm:presLayoutVars>
      </dgm:prSet>
      <dgm:spPr/>
    </dgm:pt>
    <dgm:pt modelId="{1C773CB6-729C-408A-B231-C51938E4502D}" type="pres">
      <dgm:prSet presAssocID="{B604F25F-010B-4FD6-87DE-3C7927BD62ED}" presName="invisiNode" presStyleLbl="node1" presStyleIdx="3" presStyleCnt="4"/>
      <dgm:spPr/>
    </dgm:pt>
    <dgm:pt modelId="{89545B0D-0715-41D8-85BD-D60024ADB723}" type="pres">
      <dgm:prSet presAssocID="{B604F25F-010B-4FD6-87DE-3C7927BD62ED}" presName="imagNode" presStyleLbl="fgImgPlace1" presStyleIdx="3" presStyleCnt="4" custLinFactNeighborX="-3715" custLinFactNeighborY="-3609"/>
      <dgm:spPr>
        <a:blipFill>
          <a:blip xmlns:r="http://schemas.openxmlformats.org/officeDocument/2006/relationships" r:embed="rId4"/>
          <a:srcRect/>
          <a:stretch>
            <a:fillRect/>
          </a:stretch>
        </a:blipFill>
      </dgm:spPr>
    </dgm:pt>
  </dgm:ptLst>
  <dgm:cxnLst>
    <dgm:cxn modelId="{B8067501-3385-4A7D-A7D8-90891CADAAD4}" type="presOf" srcId="{B604F25F-010B-4FD6-87DE-3C7927BD62ED}" destId="{6CC355C7-C3E3-46B8-859F-2ECE44813530}" srcOrd="1" destOrd="0" presId="urn:microsoft.com/office/officeart/2005/8/layout/hList7"/>
    <dgm:cxn modelId="{B21E0609-3B8A-4092-B567-54D45B05EFEF}" srcId="{782BC82A-C114-4BF7-B448-63B4DBDAC8AD}" destId="{753BEE55-ABCE-46A6-9AD6-C657ABAA9A77}" srcOrd="0" destOrd="0" parTransId="{9F4F11CA-5569-4B8B-AF90-160EDCC0D032}" sibTransId="{E9ECB6A0-46E3-4908-A946-5035E33807A4}"/>
    <dgm:cxn modelId="{60332918-07B4-43E2-BDDD-7A27A7853044}" type="presOf" srcId="{9FB93978-6058-4DD5-960A-FC27E3C7F27C}" destId="{E0448EB4-A1FA-4B5C-A7BD-578D099C49CB}" srcOrd="0" destOrd="0" presId="urn:microsoft.com/office/officeart/2005/8/layout/hList7"/>
    <dgm:cxn modelId="{1358CF3B-EC1A-4291-B386-14C3BBAF54C0}" type="presOf" srcId="{E9ECB6A0-46E3-4908-A946-5035E33807A4}" destId="{361EC2CE-1C98-4B8D-AD9A-0725D762CF8E}" srcOrd="0" destOrd="0" presId="urn:microsoft.com/office/officeart/2005/8/layout/hList7"/>
    <dgm:cxn modelId="{0F32575B-9436-4EB3-BFBA-A63BB25E64EF}" type="presOf" srcId="{753BEE55-ABCE-46A6-9AD6-C657ABAA9A77}" destId="{ECC6DFE3-68C2-4C1B-9AE4-F25A739B6E6D}" srcOrd="0" destOrd="0" presId="urn:microsoft.com/office/officeart/2005/8/layout/hList7"/>
    <dgm:cxn modelId="{8955DC4B-DF71-4CA2-96A8-2DA6F7B1D3E8}" type="presOf" srcId="{9FB93978-6058-4DD5-960A-FC27E3C7F27C}" destId="{E03A6198-3871-44A9-9069-761435F747F5}" srcOrd="1" destOrd="0" presId="urn:microsoft.com/office/officeart/2005/8/layout/hList7"/>
    <dgm:cxn modelId="{AFDB8772-E43B-411A-8B3E-AB1C78FF63E5}" type="presOf" srcId="{92935A17-D514-409F-A316-396A918CAB93}" destId="{8D3E8BF9-7034-4915-8C02-210336CF1EBF}" srcOrd="0" destOrd="0" presId="urn:microsoft.com/office/officeart/2005/8/layout/hList7"/>
    <dgm:cxn modelId="{566CDA54-4967-4DDE-9488-C11763819F2E}" srcId="{782BC82A-C114-4BF7-B448-63B4DBDAC8AD}" destId="{9FB93978-6058-4DD5-960A-FC27E3C7F27C}" srcOrd="2" destOrd="0" parTransId="{182FD308-C853-4E12-B282-C9E599258D59}" sibTransId="{8E27E8A7-FB4D-4353-9252-D0B0D2EEA68B}"/>
    <dgm:cxn modelId="{FC58BB77-A7F6-4465-9FE6-C0C728C18F36}" srcId="{782BC82A-C114-4BF7-B448-63B4DBDAC8AD}" destId="{ABFA7FC7-C1EB-490C-B93F-205EFF16D779}" srcOrd="1" destOrd="0" parTransId="{03557D83-4032-4742-A5B7-BDA021E279BC}" sibTransId="{92935A17-D514-409F-A316-396A918CAB93}"/>
    <dgm:cxn modelId="{F50FB488-1319-4CF6-9DF1-DE138D19BBEB}" srcId="{782BC82A-C114-4BF7-B448-63B4DBDAC8AD}" destId="{B604F25F-010B-4FD6-87DE-3C7927BD62ED}" srcOrd="3" destOrd="0" parTransId="{86791FFA-F3B8-4D38-8A73-0BDE05949AC4}" sibTransId="{AC95F0F4-DDB2-44A7-A2B8-A94BCE2A873E}"/>
    <dgm:cxn modelId="{897D478F-E810-4BA2-A482-298D3CF1ABED}" type="presOf" srcId="{8E27E8A7-FB4D-4353-9252-D0B0D2EEA68B}" destId="{D363E7DF-7731-44D0-BACB-72FE2F9DC0B3}" srcOrd="0" destOrd="0" presId="urn:microsoft.com/office/officeart/2005/8/layout/hList7"/>
    <dgm:cxn modelId="{0C1861A5-C885-4F0B-B841-EBFD29E21E9D}" type="presOf" srcId="{ABFA7FC7-C1EB-490C-B93F-205EFF16D779}" destId="{084680F7-4EEF-46E5-8044-905449814E2D}" srcOrd="0" destOrd="0" presId="urn:microsoft.com/office/officeart/2005/8/layout/hList7"/>
    <dgm:cxn modelId="{3E4C2EA9-EA7A-40D2-A3D3-0B136C4D3678}" type="presOf" srcId="{B604F25F-010B-4FD6-87DE-3C7927BD62ED}" destId="{F20D745B-2BAC-4CA5-B147-E2826F4F9956}" srcOrd="0" destOrd="0" presId="urn:microsoft.com/office/officeart/2005/8/layout/hList7"/>
    <dgm:cxn modelId="{24E8C4C3-9657-44CD-AF60-47584DC730FE}" type="presOf" srcId="{ABFA7FC7-C1EB-490C-B93F-205EFF16D779}" destId="{E11DBDCF-FEBA-4C7F-95BB-02D2C8FD0B1C}" srcOrd="1" destOrd="0" presId="urn:microsoft.com/office/officeart/2005/8/layout/hList7"/>
    <dgm:cxn modelId="{4E632BCD-9B5A-4663-827C-6DE13B34155F}" type="presOf" srcId="{753BEE55-ABCE-46A6-9AD6-C657ABAA9A77}" destId="{AE501D7E-E68E-4EAA-8D3A-7E5090FD4C51}" srcOrd="1" destOrd="0" presId="urn:microsoft.com/office/officeart/2005/8/layout/hList7"/>
    <dgm:cxn modelId="{A84E65FF-1946-49C4-87AF-C74F7A797E33}" type="presOf" srcId="{782BC82A-C114-4BF7-B448-63B4DBDAC8AD}" destId="{F2BC02C7-2392-4F68-B48D-D9305653141D}" srcOrd="0" destOrd="0" presId="urn:microsoft.com/office/officeart/2005/8/layout/hList7"/>
    <dgm:cxn modelId="{7A164F42-C2C4-4974-B601-711EA7828191}" type="presParOf" srcId="{F2BC02C7-2392-4F68-B48D-D9305653141D}" destId="{16AFF17F-36C1-4D36-A1BC-16C2E59278E0}" srcOrd="0" destOrd="0" presId="urn:microsoft.com/office/officeart/2005/8/layout/hList7"/>
    <dgm:cxn modelId="{BB282D2E-BD7F-441D-93F1-2F0AA1925095}" type="presParOf" srcId="{F2BC02C7-2392-4F68-B48D-D9305653141D}" destId="{55D51C34-AD2A-46FA-B61A-7B7EC3489C96}" srcOrd="1" destOrd="0" presId="urn:microsoft.com/office/officeart/2005/8/layout/hList7"/>
    <dgm:cxn modelId="{3C4A8629-2E42-4808-8BDF-1665FD02BDC7}" type="presParOf" srcId="{55D51C34-AD2A-46FA-B61A-7B7EC3489C96}" destId="{51F8B917-D3CB-401C-98C9-B853E163D6DB}" srcOrd="0" destOrd="0" presId="urn:microsoft.com/office/officeart/2005/8/layout/hList7"/>
    <dgm:cxn modelId="{174E1CEB-D98F-4894-B6DB-1D3D8BD058A8}" type="presParOf" srcId="{51F8B917-D3CB-401C-98C9-B853E163D6DB}" destId="{ECC6DFE3-68C2-4C1B-9AE4-F25A739B6E6D}" srcOrd="0" destOrd="0" presId="urn:microsoft.com/office/officeart/2005/8/layout/hList7"/>
    <dgm:cxn modelId="{E7219753-9CE7-4EE4-A224-9CF90904E7BA}" type="presParOf" srcId="{51F8B917-D3CB-401C-98C9-B853E163D6DB}" destId="{AE501D7E-E68E-4EAA-8D3A-7E5090FD4C51}" srcOrd="1" destOrd="0" presId="urn:microsoft.com/office/officeart/2005/8/layout/hList7"/>
    <dgm:cxn modelId="{89D58760-7735-46AA-BD39-3B614A5BF4F0}" type="presParOf" srcId="{51F8B917-D3CB-401C-98C9-B853E163D6DB}" destId="{9CFB48F0-579B-4E18-AE9F-9CBD37629F43}" srcOrd="2" destOrd="0" presId="urn:microsoft.com/office/officeart/2005/8/layout/hList7"/>
    <dgm:cxn modelId="{F9ADEE84-BDB1-4E77-87DF-F716999C28FC}" type="presParOf" srcId="{51F8B917-D3CB-401C-98C9-B853E163D6DB}" destId="{A764E457-3AC6-4386-AADE-F64BA54005EC}" srcOrd="3" destOrd="0" presId="urn:microsoft.com/office/officeart/2005/8/layout/hList7"/>
    <dgm:cxn modelId="{287F5AAA-094E-43DA-84B0-EDF68CB71267}" type="presParOf" srcId="{55D51C34-AD2A-46FA-B61A-7B7EC3489C96}" destId="{361EC2CE-1C98-4B8D-AD9A-0725D762CF8E}" srcOrd="1" destOrd="0" presId="urn:microsoft.com/office/officeart/2005/8/layout/hList7"/>
    <dgm:cxn modelId="{57008E35-68B5-4418-9E29-50C343701A12}" type="presParOf" srcId="{55D51C34-AD2A-46FA-B61A-7B7EC3489C96}" destId="{E58AB550-A745-488F-B818-02202FB5F4CC}" srcOrd="2" destOrd="0" presId="urn:microsoft.com/office/officeart/2005/8/layout/hList7"/>
    <dgm:cxn modelId="{667692CB-BC7E-417E-8B28-91236549CC56}" type="presParOf" srcId="{E58AB550-A745-488F-B818-02202FB5F4CC}" destId="{084680F7-4EEF-46E5-8044-905449814E2D}" srcOrd="0" destOrd="0" presId="urn:microsoft.com/office/officeart/2005/8/layout/hList7"/>
    <dgm:cxn modelId="{C01B8A8E-0024-4E80-813E-C6CFE8A2BE22}" type="presParOf" srcId="{E58AB550-A745-488F-B818-02202FB5F4CC}" destId="{E11DBDCF-FEBA-4C7F-95BB-02D2C8FD0B1C}" srcOrd="1" destOrd="0" presId="urn:microsoft.com/office/officeart/2005/8/layout/hList7"/>
    <dgm:cxn modelId="{9691DBA3-6905-4B8D-A2D4-6D3C366CA005}" type="presParOf" srcId="{E58AB550-A745-488F-B818-02202FB5F4CC}" destId="{E4098978-C8AA-4D88-8679-02A927625BBA}" srcOrd="2" destOrd="0" presId="urn:microsoft.com/office/officeart/2005/8/layout/hList7"/>
    <dgm:cxn modelId="{79715F9A-2394-42DC-BD69-9732E0E4A6B5}" type="presParOf" srcId="{E58AB550-A745-488F-B818-02202FB5F4CC}" destId="{7FB773B4-9BAE-4ABE-9F22-2F15BE0CF1C0}" srcOrd="3" destOrd="0" presId="urn:microsoft.com/office/officeart/2005/8/layout/hList7"/>
    <dgm:cxn modelId="{47FCDDBE-E446-4989-BB07-23F8BBCA871C}" type="presParOf" srcId="{55D51C34-AD2A-46FA-B61A-7B7EC3489C96}" destId="{8D3E8BF9-7034-4915-8C02-210336CF1EBF}" srcOrd="3" destOrd="0" presId="urn:microsoft.com/office/officeart/2005/8/layout/hList7"/>
    <dgm:cxn modelId="{D0E7A028-B518-4DC0-9817-E1C3D852ED2D}" type="presParOf" srcId="{55D51C34-AD2A-46FA-B61A-7B7EC3489C96}" destId="{6F72FA94-020F-44D8-865D-A12AAE94AD06}" srcOrd="4" destOrd="0" presId="urn:microsoft.com/office/officeart/2005/8/layout/hList7"/>
    <dgm:cxn modelId="{F3F45378-B632-4030-9FE6-FB48303088DD}" type="presParOf" srcId="{6F72FA94-020F-44D8-865D-A12AAE94AD06}" destId="{E0448EB4-A1FA-4B5C-A7BD-578D099C49CB}" srcOrd="0" destOrd="0" presId="urn:microsoft.com/office/officeart/2005/8/layout/hList7"/>
    <dgm:cxn modelId="{B0991B37-92F3-47BC-A01E-381E565D25E2}" type="presParOf" srcId="{6F72FA94-020F-44D8-865D-A12AAE94AD06}" destId="{E03A6198-3871-44A9-9069-761435F747F5}" srcOrd="1" destOrd="0" presId="urn:microsoft.com/office/officeart/2005/8/layout/hList7"/>
    <dgm:cxn modelId="{087A9EA5-062D-4984-97B5-800C28A64118}" type="presParOf" srcId="{6F72FA94-020F-44D8-865D-A12AAE94AD06}" destId="{9E3A57EA-7EA9-422C-AE08-FA11D4E98250}" srcOrd="2" destOrd="0" presId="urn:microsoft.com/office/officeart/2005/8/layout/hList7"/>
    <dgm:cxn modelId="{BC4D1A6E-1C48-4A64-B2A9-4776EDA4FB87}" type="presParOf" srcId="{6F72FA94-020F-44D8-865D-A12AAE94AD06}" destId="{770A19E3-379B-4C00-87FC-54CAA70BF40F}" srcOrd="3" destOrd="0" presId="urn:microsoft.com/office/officeart/2005/8/layout/hList7"/>
    <dgm:cxn modelId="{447B3524-E940-4DD1-9D00-D7180290E790}" type="presParOf" srcId="{55D51C34-AD2A-46FA-B61A-7B7EC3489C96}" destId="{D363E7DF-7731-44D0-BACB-72FE2F9DC0B3}" srcOrd="5" destOrd="0" presId="urn:microsoft.com/office/officeart/2005/8/layout/hList7"/>
    <dgm:cxn modelId="{BD701441-2D1B-47E9-8038-D3EDB6D06EF1}" type="presParOf" srcId="{55D51C34-AD2A-46FA-B61A-7B7EC3489C96}" destId="{0DCE3066-341A-4C16-AFA2-3B4E6C1ABA8B}" srcOrd="6" destOrd="0" presId="urn:microsoft.com/office/officeart/2005/8/layout/hList7"/>
    <dgm:cxn modelId="{A03795A4-AE37-4E30-AB4B-824CF3F2BF09}" type="presParOf" srcId="{0DCE3066-341A-4C16-AFA2-3B4E6C1ABA8B}" destId="{F20D745B-2BAC-4CA5-B147-E2826F4F9956}" srcOrd="0" destOrd="0" presId="urn:microsoft.com/office/officeart/2005/8/layout/hList7"/>
    <dgm:cxn modelId="{3978556C-175C-445F-8D50-3894459DFEA3}" type="presParOf" srcId="{0DCE3066-341A-4C16-AFA2-3B4E6C1ABA8B}" destId="{6CC355C7-C3E3-46B8-859F-2ECE44813530}" srcOrd="1" destOrd="0" presId="urn:microsoft.com/office/officeart/2005/8/layout/hList7"/>
    <dgm:cxn modelId="{9DA43B58-FEC3-44AA-8D98-ABADF0F2F0F7}" type="presParOf" srcId="{0DCE3066-341A-4C16-AFA2-3B4E6C1ABA8B}" destId="{1C773CB6-729C-408A-B231-C51938E4502D}" srcOrd="2" destOrd="0" presId="urn:microsoft.com/office/officeart/2005/8/layout/hList7"/>
    <dgm:cxn modelId="{BF99C5FC-DA1A-475D-BDDB-586B2F2FFFCA}" type="presParOf" srcId="{0DCE3066-341A-4C16-AFA2-3B4E6C1ABA8B}" destId="{89545B0D-0715-41D8-85BD-D60024ADB723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82BC82A-C114-4BF7-B448-63B4DBDAC8AD}" type="doc">
      <dgm:prSet loTypeId="urn:microsoft.com/office/officeart/2005/8/layout/hList7" loCatId="list" qsTypeId="urn:microsoft.com/office/officeart/2005/8/quickstyle/simple1" qsCatId="simple" csTypeId="urn:microsoft.com/office/officeart/2005/8/colors/accent1_2" csCatId="accent1" phldr="1"/>
      <dgm:spPr/>
    </dgm:pt>
    <dgm:pt modelId="{ABFA7FC7-C1EB-490C-B93F-205EFF16D779}">
      <dgm:prSet phldrT="[Text]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Admissions</a:t>
          </a:r>
        </a:p>
      </dgm:t>
    </dgm:pt>
    <dgm:pt modelId="{03557D83-4032-4742-A5B7-BDA021E279BC}" type="parTrans" cxnId="{FC58BB77-A7F6-4465-9FE6-C0C728C18F36}">
      <dgm:prSet/>
      <dgm:spPr/>
      <dgm:t>
        <a:bodyPr/>
        <a:lstStyle/>
        <a:p>
          <a:endParaRPr lang="en-US"/>
        </a:p>
      </dgm:t>
    </dgm:pt>
    <dgm:pt modelId="{92935A17-D514-409F-A316-396A918CAB93}" type="sibTrans" cxnId="{FC58BB77-A7F6-4465-9FE6-C0C728C18F36}">
      <dgm:prSet/>
      <dgm:spPr/>
      <dgm:t>
        <a:bodyPr/>
        <a:lstStyle/>
        <a:p>
          <a:endParaRPr lang="en-US"/>
        </a:p>
      </dgm:t>
    </dgm:pt>
    <dgm:pt modelId="{9FB93978-6058-4DD5-960A-FC27E3C7F27C}">
      <dgm:prSet phldrT="[Text]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Financial Aid &amp; Student Accounts</a:t>
          </a:r>
        </a:p>
      </dgm:t>
    </dgm:pt>
    <dgm:pt modelId="{182FD308-C853-4E12-B282-C9E599258D59}" type="parTrans" cxnId="{566CDA54-4967-4DDE-9488-C11763819F2E}">
      <dgm:prSet/>
      <dgm:spPr/>
      <dgm:t>
        <a:bodyPr/>
        <a:lstStyle/>
        <a:p>
          <a:endParaRPr lang="en-US"/>
        </a:p>
      </dgm:t>
    </dgm:pt>
    <dgm:pt modelId="{8E27E8A7-FB4D-4353-9252-D0B0D2EEA68B}" type="sibTrans" cxnId="{566CDA54-4967-4DDE-9488-C11763819F2E}">
      <dgm:prSet/>
      <dgm:spPr/>
      <dgm:t>
        <a:bodyPr/>
        <a:lstStyle/>
        <a:p>
          <a:endParaRPr lang="en-US"/>
        </a:p>
      </dgm:t>
    </dgm:pt>
    <dgm:pt modelId="{753BEE55-ABCE-46A6-9AD6-C657ABAA9A77}">
      <dgm:prSet phldrT="[Text]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Academics</a:t>
          </a:r>
        </a:p>
      </dgm:t>
    </dgm:pt>
    <dgm:pt modelId="{E9ECB6A0-46E3-4908-A946-5035E33807A4}" type="sibTrans" cxnId="{B21E0609-3B8A-4092-B567-54D45B05EFEF}">
      <dgm:prSet/>
      <dgm:spPr/>
      <dgm:t>
        <a:bodyPr/>
        <a:lstStyle/>
        <a:p>
          <a:endParaRPr lang="en-US"/>
        </a:p>
      </dgm:t>
    </dgm:pt>
    <dgm:pt modelId="{9F4F11CA-5569-4B8B-AF90-160EDCC0D032}" type="parTrans" cxnId="{B21E0609-3B8A-4092-B567-54D45B05EFEF}">
      <dgm:prSet/>
      <dgm:spPr/>
      <dgm:t>
        <a:bodyPr/>
        <a:lstStyle/>
        <a:p>
          <a:endParaRPr lang="en-US"/>
        </a:p>
      </dgm:t>
    </dgm:pt>
    <dgm:pt modelId="{B604F25F-010B-4FD6-87DE-3C7927BD62ED}">
      <dgm:prSet phldrT="[Text]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Anthology Finance</a:t>
          </a:r>
        </a:p>
      </dgm:t>
    </dgm:pt>
    <dgm:pt modelId="{86791FFA-F3B8-4D38-8A73-0BDE05949AC4}" type="parTrans" cxnId="{F50FB488-1319-4CF6-9DF1-DE138D19BBEB}">
      <dgm:prSet/>
      <dgm:spPr/>
      <dgm:t>
        <a:bodyPr/>
        <a:lstStyle/>
        <a:p>
          <a:endParaRPr lang="en-US"/>
        </a:p>
      </dgm:t>
    </dgm:pt>
    <dgm:pt modelId="{AC95F0F4-DDB2-44A7-A2B8-A94BCE2A873E}" type="sibTrans" cxnId="{F50FB488-1319-4CF6-9DF1-DE138D19BBEB}">
      <dgm:prSet/>
      <dgm:spPr/>
      <dgm:t>
        <a:bodyPr/>
        <a:lstStyle/>
        <a:p>
          <a:endParaRPr lang="en-US"/>
        </a:p>
      </dgm:t>
    </dgm:pt>
    <dgm:pt modelId="{C6D89F01-8EA2-44AD-8F42-8F08D6C668D6}">
      <dgm:prSet phldrT="[Text]"/>
      <dgm:spPr/>
      <dgm:t>
        <a:bodyPr/>
        <a:lstStyle/>
        <a:p>
          <a:r>
            <a:rPr lang="en-US" dirty="0"/>
            <a:t>Advancement</a:t>
          </a:r>
        </a:p>
      </dgm:t>
    </dgm:pt>
    <dgm:pt modelId="{79000D7A-737A-44DC-B186-9D810BCC3452}" type="parTrans" cxnId="{F3CD1992-63F0-41CD-9658-6730E2755DB1}">
      <dgm:prSet/>
      <dgm:spPr/>
      <dgm:t>
        <a:bodyPr/>
        <a:lstStyle/>
        <a:p>
          <a:endParaRPr lang="en-US"/>
        </a:p>
      </dgm:t>
    </dgm:pt>
    <dgm:pt modelId="{379C409C-ED17-42D9-8CAF-09EA31E389A7}" type="sibTrans" cxnId="{F3CD1992-63F0-41CD-9658-6730E2755DB1}">
      <dgm:prSet/>
      <dgm:spPr/>
      <dgm:t>
        <a:bodyPr/>
        <a:lstStyle/>
        <a:p>
          <a:endParaRPr lang="en-US"/>
        </a:p>
      </dgm:t>
    </dgm:pt>
    <dgm:pt modelId="{C42E0156-9F53-45FD-89A6-67B5BA2A2692}">
      <dgm:prSet phldrT="[Text]"/>
      <dgm:spPr/>
      <dgm:t>
        <a:bodyPr/>
        <a:lstStyle/>
        <a:p>
          <a:r>
            <a:rPr lang="en-US" dirty="0"/>
            <a:t>Marketing</a:t>
          </a:r>
        </a:p>
      </dgm:t>
    </dgm:pt>
    <dgm:pt modelId="{E11BD170-0801-4D2A-B08D-6B3CCA9FF399}" type="parTrans" cxnId="{47406EF1-D2AC-4CA0-9F48-A7CA7ED1BF53}">
      <dgm:prSet/>
      <dgm:spPr/>
      <dgm:t>
        <a:bodyPr/>
        <a:lstStyle/>
        <a:p>
          <a:endParaRPr lang="en-US"/>
        </a:p>
      </dgm:t>
    </dgm:pt>
    <dgm:pt modelId="{F7B060BD-9C1D-410E-9D4B-6731B1859227}" type="sibTrans" cxnId="{47406EF1-D2AC-4CA0-9F48-A7CA7ED1BF53}">
      <dgm:prSet/>
      <dgm:spPr/>
      <dgm:t>
        <a:bodyPr/>
        <a:lstStyle/>
        <a:p>
          <a:endParaRPr lang="en-US"/>
        </a:p>
      </dgm:t>
    </dgm:pt>
    <dgm:pt modelId="{FA9D7246-927F-4234-92C2-479F1FF1CC8A}">
      <dgm:prSet phldrT="[Text]"/>
      <dgm:spPr/>
      <dgm:t>
        <a:bodyPr/>
        <a:lstStyle/>
        <a:p>
          <a:r>
            <a:rPr lang="en-US" dirty="0"/>
            <a:t>Student Affairs</a:t>
          </a:r>
        </a:p>
      </dgm:t>
    </dgm:pt>
    <dgm:pt modelId="{B40CCE26-21A7-4F8A-834C-AEA42532310B}" type="parTrans" cxnId="{576BCC28-2EFD-4F93-A8AB-C8098A97AE78}">
      <dgm:prSet/>
      <dgm:spPr/>
      <dgm:t>
        <a:bodyPr/>
        <a:lstStyle/>
        <a:p>
          <a:endParaRPr lang="en-US"/>
        </a:p>
      </dgm:t>
    </dgm:pt>
    <dgm:pt modelId="{F12FA967-BD9E-4617-99B4-927E97C39C1F}" type="sibTrans" cxnId="{576BCC28-2EFD-4F93-A8AB-C8098A97AE78}">
      <dgm:prSet/>
      <dgm:spPr/>
      <dgm:t>
        <a:bodyPr/>
        <a:lstStyle/>
        <a:p>
          <a:endParaRPr lang="en-US"/>
        </a:p>
      </dgm:t>
    </dgm:pt>
    <dgm:pt modelId="{DCBB8371-F3C6-4098-B224-E0C52344B738}">
      <dgm:prSet phldrT="[Text]"/>
      <dgm:spPr/>
      <dgm:t>
        <a:bodyPr/>
        <a:lstStyle/>
        <a:p>
          <a:r>
            <a:rPr lang="en-US" dirty="0"/>
            <a:t>Institutional Research</a:t>
          </a:r>
        </a:p>
      </dgm:t>
    </dgm:pt>
    <dgm:pt modelId="{59E3D207-33E2-48BB-987C-52C05DEFB81B}" type="parTrans" cxnId="{C43220B3-9BDB-4181-AFD7-44C4D7E28FBA}">
      <dgm:prSet/>
      <dgm:spPr/>
      <dgm:t>
        <a:bodyPr/>
        <a:lstStyle/>
        <a:p>
          <a:endParaRPr lang="en-US"/>
        </a:p>
      </dgm:t>
    </dgm:pt>
    <dgm:pt modelId="{0AE13A64-3C57-4C2C-8801-0FC70F3A286A}" type="sibTrans" cxnId="{C43220B3-9BDB-4181-AFD7-44C4D7E28FBA}">
      <dgm:prSet/>
      <dgm:spPr/>
      <dgm:t>
        <a:bodyPr/>
        <a:lstStyle/>
        <a:p>
          <a:endParaRPr lang="en-US"/>
        </a:p>
      </dgm:t>
    </dgm:pt>
    <dgm:pt modelId="{BE784149-D0D4-40F7-9219-8664D2873F87}">
      <dgm:prSet phldrT="[Text]"/>
      <dgm:spPr/>
      <dgm:t>
        <a:bodyPr/>
        <a:lstStyle/>
        <a:p>
          <a:r>
            <a:rPr lang="en-US" dirty="0"/>
            <a:t>Operations</a:t>
          </a:r>
        </a:p>
      </dgm:t>
    </dgm:pt>
    <dgm:pt modelId="{3BE9C483-027B-4764-A6DC-CDCA39C2CC59}" type="parTrans" cxnId="{707D307A-599C-403D-B1DE-556E8CCB5E16}">
      <dgm:prSet/>
      <dgm:spPr/>
      <dgm:t>
        <a:bodyPr/>
        <a:lstStyle/>
        <a:p>
          <a:endParaRPr lang="en-US"/>
        </a:p>
      </dgm:t>
    </dgm:pt>
    <dgm:pt modelId="{B5B6B2D5-C2CE-435C-989F-E7D7EC661955}" type="sibTrans" cxnId="{707D307A-599C-403D-B1DE-556E8CCB5E16}">
      <dgm:prSet/>
      <dgm:spPr/>
      <dgm:t>
        <a:bodyPr/>
        <a:lstStyle/>
        <a:p>
          <a:endParaRPr lang="en-US"/>
        </a:p>
      </dgm:t>
    </dgm:pt>
    <dgm:pt modelId="{F2BC02C7-2392-4F68-B48D-D9305653141D}" type="pres">
      <dgm:prSet presAssocID="{782BC82A-C114-4BF7-B448-63B4DBDAC8AD}" presName="Name0" presStyleCnt="0">
        <dgm:presLayoutVars>
          <dgm:dir/>
          <dgm:resizeHandles val="exact"/>
        </dgm:presLayoutVars>
      </dgm:prSet>
      <dgm:spPr/>
    </dgm:pt>
    <dgm:pt modelId="{16AFF17F-36C1-4D36-A1BC-16C2E59278E0}" type="pres">
      <dgm:prSet presAssocID="{782BC82A-C114-4BF7-B448-63B4DBDAC8AD}" presName="fgShape" presStyleLbl="fgShp" presStyleIdx="0" presStyleCnt="1" custScaleY="197610" custLinFactNeighborX="95" custLinFactNeighborY="-26682"/>
      <dgm:spPr>
        <a:solidFill>
          <a:schemeClr val="bg2">
            <a:lumMod val="90000"/>
          </a:schemeClr>
        </a:solidFill>
      </dgm:spPr>
    </dgm:pt>
    <dgm:pt modelId="{55D51C34-AD2A-46FA-B61A-7B7EC3489C96}" type="pres">
      <dgm:prSet presAssocID="{782BC82A-C114-4BF7-B448-63B4DBDAC8AD}" presName="linComp" presStyleCnt="0"/>
      <dgm:spPr/>
    </dgm:pt>
    <dgm:pt modelId="{51F8B917-D3CB-401C-98C9-B853E163D6DB}" type="pres">
      <dgm:prSet presAssocID="{753BEE55-ABCE-46A6-9AD6-C657ABAA9A77}" presName="compNode" presStyleCnt="0"/>
      <dgm:spPr/>
    </dgm:pt>
    <dgm:pt modelId="{ECC6DFE3-68C2-4C1B-9AE4-F25A739B6E6D}" type="pres">
      <dgm:prSet presAssocID="{753BEE55-ABCE-46A6-9AD6-C657ABAA9A77}" presName="bkgdShape" presStyleLbl="node1" presStyleIdx="0" presStyleCnt="9"/>
      <dgm:spPr/>
    </dgm:pt>
    <dgm:pt modelId="{AE501D7E-E68E-4EAA-8D3A-7E5090FD4C51}" type="pres">
      <dgm:prSet presAssocID="{753BEE55-ABCE-46A6-9AD6-C657ABAA9A77}" presName="nodeTx" presStyleLbl="node1" presStyleIdx="0" presStyleCnt="9">
        <dgm:presLayoutVars>
          <dgm:bulletEnabled val="1"/>
        </dgm:presLayoutVars>
      </dgm:prSet>
      <dgm:spPr/>
    </dgm:pt>
    <dgm:pt modelId="{9CFB48F0-579B-4E18-AE9F-9CBD37629F43}" type="pres">
      <dgm:prSet presAssocID="{753BEE55-ABCE-46A6-9AD6-C657ABAA9A77}" presName="invisiNode" presStyleLbl="node1" presStyleIdx="0" presStyleCnt="9"/>
      <dgm:spPr/>
    </dgm:pt>
    <dgm:pt modelId="{A764E457-3AC6-4386-AADE-F64BA54005EC}" type="pres">
      <dgm:prSet presAssocID="{753BEE55-ABCE-46A6-9AD6-C657ABAA9A77}" presName="imagNode" presStyleLbl="fgImgPlace1" presStyleIdx="0" presStyleCnt="9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</dgm:spPr>
    </dgm:pt>
    <dgm:pt modelId="{361EC2CE-1C98-4B8D-AD9A-0725D762CF8E}" type="pres">
      <dgm:prSet presAssocID="{E9ECB6A0-46E3-4908-A946-5035E33807A4}" presName="sibTrans" presStyleLbl="sibTrans2D1" presStyleIdx="0" presStyleCnt="0"/>
      <dgm:spPr/>
    </dgm:pt>
    <dgm:pt modelId="{E58AB550-A745-488F-B818-02202FB5F4CC}" type="pres">
      <dgm:prSet presAssocID="{ABFA7FC7-C1EB-490C-B93F-205EFF16D779}" presName="compNode" presStyleCnt="0"/>
      <dgm:spPr/>
    </dgm:pt>
    <dgm:pt modelId="{084680F7-4EEF-46E5-8044-905449814E2D}" type="pres">
      <dgm:prSet presAssocID="{ABFA7FC7-C1EB-490C-B93F-205EFF16D779}" presName="bkgdShape" presStyleLbl="node1" presStyleIdx="1" presStyleCnt="9"/>
      <dgm:spPr/>
    </dgm:pt>
    <dgm:pt modelId="{E11DBDCF-FEBA-4C7F-95BB-02D2C8FD0B1C}" type="pres">
      <dgm:prSet presAssocID="{ABFA7FC7-C1EB-490C-B93F-205EFF16D779}" presName="nodeTx" presStyleLbl="node1" presStyleIdx="1" presStyleCnt="9">
        <dgm:presLayoutVars>
          <dgm:bulletEnabled val="1"/>
        </dgm:presLayoutVars>
      </dgm:prSet>
      <dgm:spPr/>
    </dgm:pt>
    <dgm:pt modelId="{E4098978-C8AA-4D88-8679-02A927625BBA}" type="pres">
      <dgm:prSet presAssocID="{ABFA7FC7-C1EB-490C-B93F-205EFF16D779}" presName="invisiNode" presStyleLbl="node1" presStyleIdx="1" presStyleCnt="9"/>
      <dgm:spPr/>
    </dgm:pt>
    <dgm:pt modelId="{7FB773B4-9BAE-4ABE-9F22-2F15BE0CF1C0}" type="pres">
      <dgm:prSet presAssocID="{ABFA7FC7-C1EB-490C-B93F-205EFF16D779}" presName="imagNode" presStyleLbl="fgImgPlace1" presStyleIdx="1" presStyleCnt="9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</dgm:spPr>
    </dgm:pt>
    <dgm:pt modelId="{8D3E8BF9-7034-4915-8C02-210336CF1EBF}" type="pres">
      <dgm:prSet presAssocID="{92935A17-D514-409F-A316-396A918CAB93}" presName="sibTrans" presStyleLbl="sibTrans2D1" presStyleIdx="0" presStyleCnt="0"/>
      <dgm:spPr/>
    </dgm:pt>
    <dgm:pt modelId="{6F72FA94-020F-44D8-865D-A12AAE94AD06}" type="pres">
      <dgm:prSet presAssocID="{9FB93978-6058-4DD5-960A-FC27E3C7F27C}" presName="compNode" presStyleCnt="0"/>
      <dgm:spPr/>
    </dgm:pt>
    <dgm:pt modelId="{E0448EB4-A1FA-4B5C-A7BD-578D099C49CB}" type="pres">
      <dgm:prSet presAssocID="{9FB93978-6058-4DD5-960A-FC27E3C7F27C}" presName="bkgdShape" presStyleLbl="node1" presStyleIdx="2" presStyleCnt="9"/>
      <dgm:spPr/>
    </dgm:pt>
    <dgm:pt modelId="{E03A6198-3871-44A9-9069-761435F747F5}" type="pres">
      <dgm:prSet presAssocID="{9FB93978-6058-4DD5-960A-FC27E3C7F27C}" presName="nodeTx" presStyleLbl="node1" presStyleIdx="2" presStyleCnt="9">
        <dgm:presLayoutVars>
          <dgm:bulletEnabled val="1"/>
        </dgm:presLayoutVars>
      </dgm:prSet>
      <dgm:spPr/>
    </dgm:pt>
    <dgm:pt modelId="{9E3A57EA-7EA9-422C-AE08-FA11D4E98250}" type="pres">
      <dgm:prSet presAssocID="{9FB93978-6058-4DD5-960A-FC27E3C7F27C}" presName="invisiNode" presStyleLbl="node1" presStyleIdx="2" presStyleCnt="9"/>
      <dgm:spPr/>
    </dgm:pt>
    <dgm:pt modelId="{770A19E3-379B-4C00-87FC-54CAA70BF40F}" type="pres">
      <dgm:prSet presAssocID="{9FB93978-6058-4DD5-960A-FC27E3C7F27C}" presName="imagNode" presStyleLbl="fgImgPlace1" presStyleIdx="2" presStyleCnt="9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</dgm:spPr>
    </dgm:pt>
    <dgm:pt modelId="{D363E7DF-7731-44D0-BACB-72FE2F9DC0B3}" type="pres">
      <dgm:prSet presAssocID="{8E27E8A7-FB4D-4353-9252-D0B0D2EEA68B}" presName="sibTrans" presStyleLbl="sibTrans2D1" presStyleIdx="0" presStyleCnt="0"/>
      <dgm:spPr/>
    </dgm:pt>
    <dgm:pt modelId="{0DCE3066-341A-4C16-AFA2-3B4E6C1ABA8B}" type="pres">
      <dgm:prSet presAssocID="{B604F25F-010B-4FD6-87DE-3C7927BD62ED}" presName="compNode" presStyleCnt="0"/>
      <dgm:spPr/>
    </dgm:pt>
    <dgm:pt modelId="{F20D745B-2BAC-4CA5-B147-E2826F4F9956}" type="pres">
      <dgm:prSet presAssocID="{B604F25F-010B-4FD6-87DE-3C7927BD62ED}" presName="bkgdShape" presStyleLbl="node1" presStyleIdx="3" presStyleCnt="9"/>
      <dgm:spPr/>
    </dgm:pt>
    <dgm:pt modelId="{6CC355C7-C3E3-46B8-859F-2ECE44813530}" type="pres">
      <dgm:prSet presAssocID="{B604F25F-010B-4FD6-87DE-3C7927BD62ED}" presName="nodeTx" presStyleLbl="node1" presStyleIdx="3" presStyleCnt="9">
        <dgm:presLayoutVars>
          <dgm:bulletEnabled val="1"/>
        </dgm:presLayoutVars>
      </dgm:prSet>
      <dgm:spPr/>
    </dgm:pt>
    <dgm:pt modelId="{1C773CB6-729C-408A-B231-C51938E4502D}" type="pres">
      <dgm:prSet presAssocID="{B604F25F-010B-4FD6-87DE-3C7927BD62ED}" presName="invisiNode" presStyleLbl="node1" presStyleIdx="3" presStyleCnt="9"/>
      <dgm:spPr/>
    </dgm:pt>
    <dgm:pt modelId="{89545B0D-0715-41D8-85BD-D60024ADB723}" type="pres">
      <dgm:prSet presAssocID="{B604F25F-010B-4FD6-87DE-3C7927BD62ED}" presName="imagNode" presStyleLbl="fgImgPlace1" presStyleIdx="3" presStyleCnt="9" custLinFactNeighborX="-3715" custLinFactNeighborY="-3609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</dgm:spPr>
    </dgm:pt>
    <dgm:pt modelId="{DB5AA2FA-A253-469C-9046-38696D9FFAA7}" type="pres">
      <dgm:prSet presAssocID="{AC95F0F4-DDB2-44A7-A2B8-A94BCE2A873E}" presName="sibTrans" presStyleLbl="sibTrans2D1" presStyleIdx="0" presStyleCnt="0"/>
      <dgm:spPr/>
    </dgm:pt>
    <dgm:pt modelId="{BB1732FB-7715-43A8-AA60-FCB02A6A3F63}" type="pres">
      <dgm:prSet presAssocID="{C6D89F01-8EA2-44AD-8F42-8F08D6C668D6}" presName="compNode" presStyleCnt="0"/>
      <dgm:spPr/>
    </dgm:pt>
    <dgm:pt modelId="{0D58C0E9-709A-407A-928F-CA7F5F5784E9}" type="pres">
      <dgm:prSet presAssocID="{C6D89F01-8EA2-44AD-8F42-8F08D6C668D6}" presName="bkgdShape" presStyleLbl="node1" presStyleIdx="4" presStyleCnt="9"/>
      <dgm:spPr/>
    </dgm:pt>
    <dgm:pt modelId="{3B351DA8-9B88-4A40-8632-98F0643D984D}" type="pres">
      <dgm:prSet presAssocID="{C6D89F01-8EA2-44AD-8F42-8F08D6C668D6}" presName="nodeTx" presStyleLbl="node1" presStyleIdx="4" presStyleCnt="9">
        <dgm:presLayoutVars>
          <dgm:bulletEnabled val="1"/>
        </dgm:presLayoutVars>
      </dgm:prSet>
      <dgm:spPr/>
    </dgm:pt>
    <dgm:pt modelId="{68316A43-3DA6-4D63-A424-A376A2394981}" type="pres">
      <dgm:prSet presAssocID="{C6D89F01-8EA2-44AD-8F42-8F08D6C668D6}" presName="invisiNode" presStyleLbl="node1" presStyleIdx="4" presStyleCnt="9"/>
      <dgm:spPr/>
    </dgm:pt>
    <dgm:pt modelId="{186DF7BC-8B7A-4045-8742-54C5FF371FBE}" type="pres">
      <dgm:prSet presAssocID="{C6D89F01-8EA2-44AD-8F42-8F08D6C668D6}" presName="imagNode" presStyleLbl="fgImgPlace1" presStyleIdx="4" presStyleCnt="9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 l="-7000" r="-7000"/>
          </a:stretch>
        </a:blipFill>
      </dgm:spPr>
      <dgm:extLst>
        <a:ext uri="{E40237B7-FDA0-4F09-8148-C483321AD2D9}">
          <dgm14:cNvPr xmlns:dgm14="http://schemas.microsoft.com/office/drawing/2010/diagram" id="0" name="" descr="Gears"/>
        </a:ext>
      </dgm:extLst>
    </dgm:pt>
    <dgm:pt modelId="{C0D4026C-B5C5-4D28-8E60-9CB06AF08D3E}" type="pres">
      <dgm:prSet presAssocID="{379C409C-ED17-42D9-8CAF-09EA31E389A7}" presName="sibTrans" presStyleLbl="sibTrans2D1" presStyleIdx="0" presStyleCnt="0"/>
      <dgm:spPr/>
    </dgm:pt>
    <dgm:pt modelId="{5D8FEC9F-FBC1-471B-9F3B-9B028F2EDB02}" type="pres">
      <dgm:prSet presAssocID="{C42E0156-9F53-45FD-89A6-67B5BA2A2692}" presName="compNode" presStyleCnt="0"/>
      <dgm:spPr/>
    </dgm:pt>
    <dgm:pt modelId="{D5A2D323-B217-49E2-BCB8-359BC085F753}" type="pres">
      <dgm:prSet presAssocID="{C42E0156-9F53-45FD-89A6-67B5BA2A2692}" presName="bkgdShape" presStyleLbl="node1" presStyleIdx="5" presStyleCnt="9"/>
      <dgm:spPr/>
    </dgm:pt>
    <dgm:pt modelId="{AAB98293-A87A-4A6C-BCF1-0E45264F4220}" type="pres">
      <dgm:prSet presAssocID="{C42E0156-9F53-45FD-89A6-67B5BA2A2692}" presName="nodeTx" presStyleLbl="node1" presStyleIdx="5" presStyleCnt="9">
        <dgm:presLayoutVars>
          <dgm:bulletEnabled val="1"/>
        </dgm:presLayoutVars>
      </dgm:prSet>
      <dgm:spPr/>
    </dgm:pt>
    <dgm:pt modelId="{F9715A9C-FF8E-4EE5-9258-7F4C4D45BBC7}" type="pres">
      <dgm:prSet presAssocID="{C42E0156-9F53-45FD-89A6-67B5BA2A2692}" presName="invisiNode" presStyleLbl="node1" presStyleIdx="5" presStyleCnt="9"/>
      <dgm:spPr/>
    </dgm:pt>
    <dgm:pt modelId="{830828F9-3833-4FEE-BFE7-A0C082125B6B}" type="pres">
      <dgm:prSet presAssocID="{C42E0156-9F53-45FD-89A6-67B5BA2A2692}" presName="imagNode" presStyleLbl="fgImgPlace1" presStyleIdx="5" presStyleCnt="9"/>
      <dgm:spPr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 l="-7000" r="-7000"/>
          </a:stretch>
        </a:blipFill>
      </dgm:spPr>
      <dgm:extLst>
        <a:ext uri="{E40237B7-FDA0-4F09-8148-C483321AD2D9}">
          <dgm14:cNvPr xmlns:dgm14="http://schemas.microsoft.com/office/drawing/2010/diagram" id="0" name="" descr="Lightbulb"/>
        </a:ext>
      </dgm:extLst>
    </dgm:pt>
    <dgm:pt modelId="{BED293A3-6462-47E4-9729-B4A3F2974785}" type="pres">
      <dgm:prSet presAssocID="{F7B060BD-9C1D-410E-9D4B-6731B1859227}" presName="sibTrans" presStyleLbl="sibTrans2D1" presStyleIdx="0" presStyleCnt="0"/>
      <dgm:spPr/>
    </dgm:pt>
    <dgm:pt modelId="{B2118EC5-FF02-4C9D-AC11-9BFE20B01E51}" type="pres">
      <dgm:prSet presAssocID="{FA9D7246-927F-4234-92C2-479F1FF1CC8A}" presName="compNode" presStyleCnt="0"/>
      <dgm:spPr/>
    </dgm:pt>
    <dgm:pt modelId="{33DCFAFF-FA9E-477E-BE1A-1E1023EBA308}" type="pres">
      <dgm:prSet presAssocID="{FA9D7246-927F-4234-92C2-479F1FF1CC8A}" presName="bkgdShape" presStyleLbl="node1" presStyleIdx="6" presStyleCnt="9"/>
      <dgm:spPr/>
    </dgm:pt>
    <dgm:pt modelId="{D229C98A-8A92-4289-A081-750580684200}" type="pres">
      <dgm:prSet presAssocID="{FA9D7246-927F-4234-92C2-479F1FF1CC8A}" presName="nodeTx" presStyleLbl="node1" presStyleIdx="6" presStyleCnt="9">
        <dgm:presLayoutVars>
          <dgm:bulletEnabled val="1"/>
        </dgm:presLayoutVars>
      </dgm:prSet>
      <dgm:spPr/>
    </dgm:pt>
    <dgm:pt modelId="{B68C15F7-2A4B-4F91-8564-B2F8478F36AF}" type="pres">
      <dgm:prSet presAssocID="{FA9D7246-927F-4234-92C2-479F1FF1CC8A}" presName="invisiNode" presStyleLbl="node1" presStyleIdx="6" presStyleCnt="9"/>
      <dgm:spPr/>
    </dgm:pt>
    <dgm:pt modelId="{4FF33758-F335-4D46-BDDA-51D39FF52C0B}" type="pres">
      <dgm:prSet presAssocID="{FA9D7246-927F-4234-92C2-479F1FF1CC8A}" presName="imagNode" presStyleLbl="fgImgPlace1" presStyleIdx="6" presStyleCnt="9"/>
      <dgm:spPr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 l="-7000" r="-7000"/>
          </a:stretch>
        </a:blipFill>
      </dgm:spPr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75CC2EAC-8A87-4642-AD1E-31EF14E23EB5}" type="pres">
      <dgm:prSet presAssocID="{F12FA967-BD9E-4617-99B4-927E97C39C1F}" presName="sibTrans" presStyleLbl="sibTrans2D1" presStyleIdx="0" presStyleCnt="0"/>
      <dgm:spPr/>
    </dgm:pt>
    <dgm:pt modelId="{090C1A18-F554-4D45-93DF-6512E1C2AA14}" type="pres">
      <dgm:prSet presAssocID="{DCBB8371-F3C6-4098-B224-E0C52344B738}" presName="compNode" presStyleCnt="0"/>
      <dgm:spPr/>
    </dgm:pt>
    <dgm:pt modelId="{6F8FACA5-CA8A-4FA0-B00B-6815C9509CFA}" type="pres">
      <dgm:prSet presAssocID="{DCBB8371-F3C6-4098-B224-E0C52344B738}" presName="bkgdShape" presStyleLbl="node1" presStyleIdx="7" presStyleCnt="9"/>
      <dgm:spPr/>
    </dgm:pt>
    <dgm:pt modelId="{D8291A62-CA87-4980-A8FC-47E064AAFB0D}" type="pres">
      <dgm:prSet presAssocID="{DCBB8371-F3C6-4098-B224-E0C52344B738}" presName="nodeTx" presStyleLbl="node1" presStyleIdx="7" presStyleCnt="9">
        <dgm:presLayoutVars>
          <dgm:bulletEnabled val="1"/>
        </dgm:presLayoutVars>
      </dgm:prSet>
      <dgm:spPr/>
    </dgm:pt>
    <dgm:pt modelId="{12542CB0-CA98-44F1-A237-45B4A21AD271}" type="pres">
      <dgm:prSet presAssocID="{DCBB8371-F3C6-4098-B224-E0C52344B738}" presName="invisiNode" presStyleLbl="node1" presStyleIdx="7" presStyleCnt="9"/>
      <dgm:spPr/>
    </dgm:pt>
    <dgm:pt modelId="{E037BC1A-7652-4136-9836-0F8CA1F37DDA}" type="pres">
      <dgm:prSet presAssocID="{DCBB8371-F3C6-4098-B224-E0C52344B738}" presName="imagNode" presStyleLbl="fgImgPlace1" presStyleIdx="7" presStyleCnt="9"/>
      <dgm:spPr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 l="-7000" r="-7000"/>
          </a:stretch>
        </a:blipFill>
      </dgm:spPr>
      <dgm:extLst>
        <a:ext uri="{E40237B7-FDA0-4F09-8148-C483321AD2D9}">
          <dgm14:cNvPr xmlns:dgm14="http://schemas.microsoft.com/office/drawing/2010/diagram" id="0" name="" descr="Research"/>
        </a:ext>
      </dgm:extLst>
    </dgm:pt>
    <dgm:pt modelId="{237FEAF0-960D-4EA2-926A-F2E8E6E97E07}" type="pres">
      <dgm:prSet presAssocID="{0AE13A64-3C57-4C2C-8801-0FC70F3A286A}" presName="sibTrans" presStyleLbl="sibTrans2D1" presStyleIdx="0" presStyleCnt="0"/>
      <dgm:spPr/>
    </dgm:pt>
    <dgm:pt modelId="{171747D6-6689-4A6C-8BD7-4857980D3D19}" type="pres">
      <dgm:prSet presAssocID="{BE784149-D0D4-40F7-9219-8664D2873F87}" presName="compNode" presStyleCnt="0"/>
      <dgm:spPr/>
    </dgm:pt>
    <dgm:pt modelId="{A6D5A465-CC65-4FD1-9197-ADE004031CC0}" type="pres">
      <dgm:prSet presAssocID="{BE784149-D0D4-40F7-9219-8664D2873F87}" presName="bkgdShape" presStyleLbl="node1" presStyleIdx="8" presStyleCnt="9"/>
      <dgm:spPr/>
    </dgm:pt>
    <dgm:pt modelId="{68EAE26B-5D2E-4DEF-B138-36D4DB0982D7}" type="pres">
      <dgm:prSet presAssocID="{BE784149-D0D4-40F7-9219-8664D2873F87}" presName="nodeTx" presStyleLbl="node1" presStyleIdx="8" presStyleCnt="9">
        <dgm:presLayoutVars>
          <dgm:bulletEnabled val="1"/>
        </dgm:presLayoutVars>
      </dgm:prSet>
      <dgm:spPr/>
    </dgm:pt>
    <dgm:pt modelId="{82025489-1552-4BB2-A90B-AED9E5B22AC3}" type="pres">
      <dgm:prSet presAssocID="{BE784149-D0D4-40F7-9219-8664D2873F87}" presName="invisiNode" presStyleLbl="node1" presStyleIdx="8" presStyleCnt="9"/>
      <dgm:spPr/>
    </dgm:pt>
    <dgm:pt modelId="{75DDC3B1-2A52-40A0-9E4A-BFF203B6B72D}" type="pres">
      <dgm:prSet presAssocID="{BE784149-D0D4-40F7-9219-8664D2873F87}" presName="imagNode" presStyleLbl="fgImgPlace1" presStyleIdx="8" presStyleCnt="9"/>
      <dgm:spPr>
        <a:blipFill>
          <a:blip xmlns:r="http://schemas.openxmlformats.org/officeDocument/2006/relationships"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>
            <a:fillRect l="-7000" r="-7000"/>
          </a:stretch>
        </a:blipFill>
      </dgm:spPr>
      <dgm:extLst>
        <a:ext uri="{E40237B7-FDA0-4F09-8148-C483321AD2D9}">
          <dgm14:cNvPr xmlns:dgm14="http://schemas.microsoft.com/office/drawing/2010/diagram" id="0" name="" descr="Single gear"/>
        </a:ext>
      </dgm:extLst>
    </dgm:pt>
  </dgm:ptLst>
  <dgm:cxnLst>
    <dgm:cxn modelId="{B8067501-3385-4A7D-A7D8-90891CADAAD4}" type="presOf" srcId="{B604F25F-010B-4FD6-87DE-3C7927BD62ED}" destId="{6CC355C7-C3E3-46B8-859F-2ECE44813530}" srcOrd="1" destOrd="0" presId="urn:microsoft.com/office/officeart/2005/8/layout/hList7"/>
    <dgm:cxn modelId="{C1EBF501-A637-4EB9-A63E-CEEA21E4FE38}" type="presOf" srcId="{C6D89F01-8EA2-44AD-8F42-8F08D6C668D6}" destId="{3B351DA8-9B88-4A40-8632-98F0643D984D}" srcOrd="1" destOrd="0" presId="urn:microsoft.com/office/officeart/2005/8/layout/hList7"/>
    <dgm:cxn modelId="{B21E0609-3B8A-4092-B567-54D45B05EFEF}" srcId="{782BC82A-C114-4BF7-B448-63B4DBDAC8AD}" destId="{753BEE55-ABCE-46A6-9AD6-C657ABAA9A77}" srcOrd="0" destOrd="0" parTransId="{9F4F11CA-5569-4B8B-AF90-160EDCC0D032}" sibTransId="{E9ECB6A0-46E3-4908-A946-5035E33807A4}"/>
    <dgm:cxn modelId="{2F8B160E-489C-4C1B-85FE-8DCC80926DA3}" type="presOf" srcId="{DCBB8371-F3C6-4098-B224-E0C52344B738}" destId="{D8291A62-CA87-4980-A8FC-47E064AAFB0D}" srcOrd="1" destOrd="0" presId="urn:microsoft.com/office/officeart/2005/8/layout/hList7"/>
    <dgm:cxn modelId="{9B4F4115-F23F-4A06-BED0-012911370F86}" type="presOf" srcId="{F12FA967-BD9E-4617-99B4-927E97C39C1F}" destId="{75CC2EAC-8A87-4642-AD1E-31EF14E23EB5}" srcOrd="0" destOrd="0" presId="urn:microsoft.com/office/officeart/2005/8/layout/hList7"/>
    <dgm:cxn modelId="{60332918-07B4-43E2-BDDD-7A27A7853044}" type="presOf" srcId="{9FB93978-6058-4DD5-960A-FC27E3C7F27C}" destId="{E0448EB4-A1FA-4B5C-A7BD-578D099C49CB}" srcOrd="0" destOrd="0" presId="urn:microsoft.com/office/officeart/2005/8/layout/hList7"/>
    <dgm:cxn modelId="{D4CFC018-C21A-4F4C-8A9E-CA4B300BD9FE}" type="presOf" srcId="{FA9D7246-927F-4234-92C2-479F1FF1CC8A}" destId="{D229C98A-8A92-4289-A081-750580684200}" srcOrd="1" destOrd="0" presId="urn:microsoft.com/office/officeart/2005/8/layout/hList7"/>
    <dgm:cxn modelId="{8D9C4319-8BF3-46DE-A483-6F204E808C0D}" type="presOf" srcId="{BE784149-D0D4-40F7-9219-8664D2873F87}" destId="{68EAE26B-5D2E-4DEF-B138-36D4DB0982D7}" srcOrd="1" destOrd="0" presId="urn:microsoft.com/office/officeart/2005/8/layout/hList7"/>
    <dgm:cxn modelId="{7E997025-05D3-4496-A07E-FE1AC10816BB}" type="presOf" srcId="{FA9D7246-927F-4234-92C2-479F1FF1CC8A}" destId="{33DCFAFF-FA9E-477E-BE1A-1E1023EBA308}" srcOrd="0" destOrd="0" presId="urn:microsoft.com/office/officeart/2005/8/layout/hList7"/>
    <dgm:cxn modelId="{87C36627-B170-46B0-B9E0-D0ABD8868DB6}" type="presOf" srcId="{C42E0156-9F53-45FD-89A6-67B5BA2A2692}" destId="{AAB98293-A87A-4A6C-BCF1-0E45264F4220}" srcOrd="1" destOrd="0" presId="urn:microsoft.com/office/officeart/2005/8/layout/hList7"/>
    <dgm:cxn modelId="{576BCC28-2EFD-4F93-A8AB-C8098A97AE78}" srcId="{782BC82A-C114-4BF7-B448-63B4DBDAC8AD}" destId="{FA9D7246-927F-4234-92C2-479F1FF1CC8A}" srcOrd="6" destOrd="0" parTransId="{B40CCE26-21A7-4F8A-834C-AEA42532310B}" sibTransId="{F12FA967-BD9E-4617-99B4-927E97C39C1F}"/>
    <dgm:cxn modelId="{1358CF3B-EC1A-4291-B386-14C3BBAF54C0}" type="presOf" srcId="{E9ECB6A0-46E3-4908-A946-5035E33807A4}" destId="{361EC2CE-1C98-4B8D-AD9A-0725D762CF8E}" srcOrd="0" destOrd="0" presId="urn:microsoft.com/office/officeart/2005/8/layout/hList7"/>
    <dgm:cxn modelId="{8986733C-BD43-4269-B158-3A9748B04EF4}" type="presOf" srcId="{BE784149-D0D4-40F7-9219-8664D2873F87}" destId="{A6D5A465-CC65-4FD1-9197-ADE004031CC0}" srcOrd="0" destOrd="0" presId="urn:microsoft.com/office/officeart/2005/8/layout/hList7"/>
    <dgm:cxn modelId="{0F32575B-9436-4EB3-BFBA-A63BB25E64EF}" type="presOf" srcId="{753BEE55-ABCE-46A6-9AD6-C657ABAA9A77}" destId="{ECC6DFE3-68C2-4C1B-9AE4-F25A739B6E6D}" srcOrd="0" destOrd="0" presId="urn:microsoft.com/office/officeart/2005/8/layout/hList7"/>
    <dgm:cxn modelId="{3B0FDF44-594A-4E85-87B7-5C596F40DA20}" type="presOf" srcId="{C6D89F01-8EA2-44AD-8F42-8F08D6C668D6}" destId="{0D58C0E9-709A-407A-928F-CA7F5F5784E9}" srcOrd="0" destOrd="0" presId="urn:microsoft.com/office/officeart/2005/8/layout/hList7"/>
    <dgm:cxn modelId="{9D4E9867-15CE-4BA2-9D5C-06C11E1AFA3D}" type="presOf" srcId="{F7B060BD-9C1D-410E-9D4B-6731B1859227}" destId="{BED293A3-6462-47E4-9729-B4A3F2974785}" srcOrd="0" destOrd="0" presId="urn:microsoft.com/office/officeart/2005/8/layout/hList7"/>
    <dgm:cxn modelId="{8955DC4B-DF71-4CA2-96A8-2DA6F7B1D3E8}" type="presOf" srcId="{9FB93978-6058-4DD5-960A-FC27E3C7F27C}" destId="{E03A6198-3871-44A9-9069-761435F747F5}" srcOrd="1" destOrd="0" presId="urn:microsoft.com/office/officeart/2005/8/layout/hList7"/>
    <dgm:cxn modelId="{AFDB8772-E43B-411A-8B3E-AB1C78FF63E5}" type="presOf" srcId="{92935A17-D514-409F-A316-396A918CAB93}" destId="{8D3E8BF9-7034-4915-8C02-210336CF1EBF}" srcOrd="0" destOrd="0" presId="urn:microsoft.com/office/officeart/2005/8/layout/hList7"/>
    <dgm:cxn modelId="{566CDA54-4967-4DDE-9488-C11763819F2E}" srcId="{782BC82A-C114-4BF7-B448-63B4DBDAC8AD}" destId="{9FB93978-6058-4DD5-960A-FC27E3C7F27C}" srcOrd="2" destOrd="0" parTransId="{182FD308-C853-4E12-B282-C9E599258D59}" sibTransId="{8E27E8A7-FB4D-4353-9252-D0B0D2EEA68B}"/>
    <dgm:cxn modelId="{FC58BB77-A7F6-4465-9FE6-C0C728C18F36}" srcId="{782BC82A-C114-4BF7-B448-63B4DBDAC8AD}" destId="{ABFA7FC7-C1EB-490C-B93F-205EFF16D779}" srcOrd="1" destOrd="0" parTransId="{03557D83-4032-4742-A5B7-BDA021E279BC}" sibTransId="{92935A17-D514-409F-A316-396A918CAB93}"/>
    <dgm:cxn modelId="{707D307A-599C-403D-B1DE-556E8CCB5E16}" srcId="{782BC82A-C114-4BF7-B448-63B4DBDAC8AD}" destId="{BE784149-D0D4-40F7-9219-8664D2873F87}" srcOrd="8" destOrd="0" parTransId="{3BE9C483-027B-4764-A6DC-CDCA39C2CC59}" sibTransId="{B5B6B2D5-C2CE-435C-989F-E7D7EC661955}"/>
    <dgm:cxn modelId="{6E2D6F7C-F2C6-4302-A1FB-85EE448B62E0}" type="presOf" srcId="{0AE13A64-3C57-4C2C-8801-0FC70F3A286A}" destId="{237FEAF0-960D-4EA2-926A-F2E8E6E97E07}" srcOrd="0" destOrd="0" presId="urn:microsoft.com/office/officeart/2005/8/layout/hList7"/>
    <dgm:cxn modelId="{F50FB488-1319-4CF6-9DF1-DE138D19BBEB}" srcId="{782BC82A-C114-4BF7-B448-63B4DBDAC8AD}" destId="{B604F25F-010B-4FD6-87DE-3C7927BD62ED}" srcOrd="3" destOrd="0" parTransId="{86791FFA-F3B8-4D38-8A73-0BDE05949AC4}" sibTransId="{AC95F0F4-DDB2-44A7-A2B8-A94BCE2A873E}"/>
    <dgm:cxn modelId="{FF9FB98A-01AE-4E7A-8906-64076D05F9EC}" type="presOf" srcId="{DCBB8371-F3C6-4098-B224-E0C52344B738}" destId="{6F8FACA5-CA8A-4FA0-B00B-6815C9509CFA}" srcOrd="0" destOrd="0" presId="urn:microsoft.com/office/officeart/2005/8/layout/hList7"/>
    <dgm:cxn modelId="{897D478F-E810-4BA2-A482-298D3CF1ABED}" type="presOf" srcId="{8E27E8A7-FB4D-4353-9252-D0B0D2EEA68B}" destId="{D363E7DF-7731-44D0-BACB-72FE2F9DC0B3}" srcOrd="0" destOrd="0" presId="urn:microsoft.com/office/officeart/2005/8/layout/hList7"/>
    <dgm:cxn modelId="{F3CD1992-63F0-41CD-9658-6730E2755DB1}" srcId="{782BC82A-C114-4BF7-B448-63B4DBDAC8AD}" destId="{C6D89F01-8EA2-44AD-8F42-8F08D6C668D6}" srcOrd="4" destOrd="0" parTransId="{79000D7A-737A-44DC-B186-9D810BCC3452}" sibTransId="{379C409C-ED17-42D9-8CAF-09EA31E389A7}"/>
    <dgm:cxn modelId="{5267339F-0CE6-4872-8929-2829D1755A58}" type="presOf" srcId="{C42E0156-9F53-45FD-89A6-67B5BA2A2692}" destId="{D5A2D323-B217-49E2-BCB8-359BC085F753}" srcOrd="0" destOrd="0" presId="urn:microsoft.com/office/officeart/2005/8/layout/hList7"/>
    <dgm:cxn modelId="{0C1861A5-C885-4F0B-B841-EBFD29E21E9D}" type="presOf" srcId="{ABFA7FC7-C1EB-490C-B93F-205EFF16D779}" destId="{084680F7-4EEF-46E5-8044-905449814E2D}" srcOrd="0" destOrd="0" presId="urn:microsoft.com/office/officeart/2005/8/layout/hList7"/>
    <dgm:cxn modelId="{3E4C2EA9-EA7A-40D2-A3D3-0B136C4D3678}" type="presOf" srcId="{B604F25F-010B-4FD6-87DE-3C7927BD62ED}" destId="{F20D745B-2BAC-4CA5-B147-E2826F4F9956}" srcOrd="0" destOrd="0" presId="urn:microsoft.com/office/officeart/2005/8/layout/hList7"/>
    <dgm:cxn modelId="{C43220B3-9BDB-4181-AFD7-44C4D7E28FBA}" srcId="{782BC82A-C114-4BF7-B448-63B4DBDAC8AD}" destId="{DCBB8371-F3C6-4098-B224-E0C52344B738}" srcOrd="7" destOrd="0" parTransId="{59E3D207-33E2-48BB-987C-52C05DEFB81B}" sibTransId="{0AE13A64-3C57-4C2C-8801-0FC70F3A286A}"/>
    <dgm:cxn modelId="{3D9B68BA-A436-4780-95CF-9B7E125F5969}" type="presOf" srcId="{379C409C-ED17-42D9-8CAF-09EA31E389A7}" destId="{C0D4026C-B5C5-4D28-8E60-9CB06AF08D3E}" srcOrd="0" destOrd="0" presId="urn:microsoft.com/office/officeart/2005/8/layout/hList7"/>
    <dgm:cxn modelId="{24E8C4C3-9657-44CD-AF60-47584DC730FE}" type="presOf" srcId="{ABFA7FC7-C1EB-490C-B93F-205EFF16D779}" destId="{E11DBDCF-FEBA-4C7F-95BB-02D2C8FD0B1C}" srcOrd="1" destOrd="0" presId="urn:microsoft.com/office/officeart/2005/8/layout/hList7"/>
    <dgm:cxn modelId="{4E632BCD-9B5A-4663-827C-6DE13B34155F}" type="presOf" srcId="{753BEE55-ABCE-46A6-9AD6-C657ABAA9A77}" destId="{AE501D7E-E68E-4EAA-8D3A-7E5090FD4C51}" srcOrd="1" destOrd="0" presId="urn:microsoft.com/office/officeart/2005/8/layout/hList7"/>
    <dgm:cxn modelId="{A64F9CD9-139D-4F7E-AC16-070C18049707}" type="presOf" srcId="{AC95F0F4-DDB2-44A7-A2B8-A94BCE2A873E}" destId="{DB5AA2FA-A253-469C-9046-38696D9FFAA7}" srcOrd="0" destOrd="0" presId="urn:microsoft.com/office/officeart/2005/8/layout/hList7"/>
    <dgm:cxn modelId="{47406EF1-D2AC-4CA0-9F48-A7CA7ED1BF53}" srcId="{782BC82A-C114-4BF7-B448-63B4DBDAC8AD}" destId="{C42E0156-9F53-45FD-89A6-67B5BA2A2692}" srcOrd="5" destOrd="0" parTransId="{E11BD170-0801-4D2A-B08D-6B3CCA9FF399}" sibTransId="{F7B060BD-9C1D-410E-9D4B-6731B1859227}"/>
    <dgm:cxn modelId="{A84E65FF-1946-49C4-87AF-C74F7A797E33}" type="presOf" srcId="{782BC82A-C114-4BF7-B448-63B4DBDAC8AD}" destId="{F2BC02C7-2392-4F68-B48D-D9305653141D}" srcOrd="0" destOrd="0" presId="urn:microsoft.com/office/officeart/2005/8/layout/hList7"/>
    <dgm:cxn modelId="{7A164F42-C2C4-4974-B601-711EA7828191}" type="presParOf" srcId="{F2BC02C7-2392-4F68-B48D-D9305653141D}" destId="{16AFF17F-36C1-4D36-A1BC-16C2E59278E0}" srcOrd="0" destOrd="0" presId="urn:microsoft.com/office/officeart/2005/8/layout/hList7"/>
    <dgm:cxn modelId="{BB282D2E-BD7F-441D-93F1-2F0AA1925095}" type="presParOf" srcId="{F2BC02C7-2392-4F68-B48D-D9305653141D}" destId="{55D51C34-AD2A-46FA-B61A-7B7EC3489C96}" srcOrd="1" destOrd="0" presId="urn:microsoft.com/office/officeart/2005/8/layout/hList7"/>
    <dgm:cxn modelId="{3C4A8629-2E42-4808-8BDF-1665FD02BDC7}" type="presParOf" srcId="{55D51C34-AD2A-46FA-B61A-7B7EC3489C96}" destId="{51F8B917-D3CB-401C-98C9-B853E163D6DB}" srcOrd="0" destOrd="0" presId="urn:microsoft.com/office/officeart/2005/8/layout/hList7"/>
    <dgm:cxn modelId="{174E1CEB-D98F-4894-B6DB-1D3D8BD058A8}" type="presParOf" srcId="{51F8B917-D3CB-401C-98C9-B853E163D6DB}" destId="{ECC6DFE3-68C2-4C1B-9AE4-F25A739B6E6D}" srcOrd="0" destOrd="0" presId="urn:microsoft.com/office/officeart/2005/8/layout/hList7"/>
    <dgm:cxn modelId="{E7219753-9CE7-4EE4-A224-9CF90904E7BA}" type="presParOf" srcId="{51F8B917-D3CB-401C-98C9-B853E163D6DB}" destId="{AE501D7E-E68E-4EAA-8D3A-7E5090FD4C51}" srcOrd="1" destOrd="0" presId="urn:microsoft.com/office/officeart/2005/8/layout/hList7"/>
    <dgm:cxn modelId="{89D58760-7735-46AA-BD39-3B614A5BF4F0}" type="presParOf" srcId="{51F8B917-D3CB-401C-98C9-B853E163D6DB}" destId="{9CFB48F0-579B-4E18-AE9F-9CBD37629F43}" srcOrd="2" destOrd="0" presId="urn:microsoft.com/office/officeart/2005/8/layout/hList7"/>
    <dgm:cxn modelId="{F9ADEE84-BDB1-4E77-87DF-F716999C28FC}" type="presParOf" srcId="{51F8B917-D3CB-401C-98C9-B853E163D6DB}" destId="{A764E457-3AC6-4386-AADE-F64BA54005EC}" srcOrd="3" destOrd="0" presId="urn:microsoft.com/office/officeart/2005/8/layout/hList7"/>
    <dgm:cxn modelId="{287F5AAA-094E-43DA-84B0-EDF68CB71267}" type="presParOf" srcId="{55D51C34-AD2A-46FA-B61A-7B7EC3489C96}" destId="{361EC2CE-1C98-4B8D-AD9A-0725D762CF8E}" srcOrd="1" destOrd="0" presId="urn:microsoft.com/office/officeart/2005/8/layout/hList7"/>
    <dgm:cxn modelId="{57008E35-68B5-4418-9E29-50C343701A12}" type="presParOf" srcId="{55D51C34-AD2A-46FA-B61A-7B7EC3489C96}" destId="{E58AB550-A745-488F-B818-02202FB5F4CC}" srcOrd="2" destOrd="0" presId="urn:microsoft.com/office/officeart/2005/8/layout/hList7"/>
    <dgm:cxn modelId="{667692CB-BC7E-417E-8B28-91236549CC56}" type="presParOf" srcId="{E58AB550-A745-488F-B818-02202FB5F4CC}" destId="{084680F7-4EEF-46E5-8044-905449814E2D}" srcOrd="0" destOrd="0" presId="urn:microsoft.com/office/officeart/2005/8/layout/hList7"/>
    <dgm:cxn modelId="{C01B8A8E-0024-4E80-813E-C6CFE8A2BE22}" type="presParOf" srcId="{E58AB550-A745-488F-B818-02202FB5F4CC}" destId="{E11DBDCF-FEBA-4C7F-95BB-02D2C8FD0B1C}" srcOrd="1" destOrd="0" presId="urn:microsoft.com/office/officeart/2005/8/layout/hList7"/>
    <dgm:cxn modelId="{9691DBA3-6905-4B8D-A2D4-6D3C366CA005}" type="presParOf" srcId="{E58AB550-A745-488F-B818-02202FB5F4CC}" destId="{E4098978-C8AA-4D88-8679-02A927625BBA}" srcOrd="2" destOrd="0" presId="urn:microsoft.com/office/officeart/2005/8/layout/hList7"/>
    <dgm:cxn modelId="{79715F9A-2394-42DC-BD69-9732E0E4A6B5}" type="presParOf" srcId="{E58AB550-A745-488F-B818-02202FB5F4CC}" destId="{7FB773B4-9BAE-4ABE-9F22-2F15BE0CF1C0}" srcOrd="3" destOrd="0" presId="urn:microsoft.com/office/officeart/2005/8/layout/hList7"/>
    <dgm:cxn modelId="{47FCDDBE-E446-4989-BB07-23F8BBCA871C}" type="presParOf" srcId="{55D51C34-AD2A-46FA-B61A-7B7EC3489C96}" destId="{8D3E8BF9-7034-4915-8C02-210336CF1EBF}" srcOrd="3" destOrd="0" presId="urn:microsoft.com/office/officeart/2005/8/layout/hList7"/>
    <dgm:cxn modelId="{D0E7A028-B518-4DC0-9817-E1C3D852ED2D}" type="presParOf" srcId="{55D51C34-AD2A-46FA-B61A-7B7EC3489C96}" destId="{6F72FA94-020F-44D8-865D-A12AAE94AD06}" srcOrd="4" destOrd="0" presId="urn:microsoft.com/office/officeart/2005/8/layout/hList7"/>
    <dgm:cxn modelId="{F3F45378-B632-4030-9FE6-FB48303088DD}" type="presParOf" srcId="{6F72FA94-020F-44D8-865D-A12AAE94AD06}" destId="{E0448EB4-A1FA-4B5C-A7BD-578D099C49CB}" srcOrd="0" destOrd="0" presId="urn:microsoft.com/office/officeart/2005/8/layout/hList7"/>
    <dgm:cxn modelId="{B0991B37-92F3-47BC-A01E-381E565D25E2}" type="presParOf" srcId="{6F72FA94-020F-44D8-865D-A12AAE94AD06}" destId="{E03A6198-3871-44A9-9069-761435F747F5}" srcOrd="1" destOrd="0" presId="urn:microsoft.com/office/officeart/2005/8/layout/hList7"/>
    <dgm:cxn modelId="{087A9EA5-062D-4984-97B5-800C28A64118}" type="presParOf" srcId="{6F72FA94-020F-44D8-865D-A12AAE94AD06}" destId="{9E3A57EA-7EA9-422C-AE08-FA11D4E98250}" srcOrd="2" destOrd="0" presId="urn:microsoft.com/office/officeart/2005/8/layout/hList7"/>
    <dgm:cxn modelId="{BC4D1A6E-1C48-4A64-B2A9-4776EDA4FB87}" type="presParOf" srcId="{6F72FA94-020F-44D8-865D-A12AAE94AD06}" destId="{770A19E3-379B-4C00-87FC-54CAA70BF40F}" srcOrd="3" destOrd="0" presId="urn:microsoft.com/office/officeart/2005/8/layout/hList7"/>
    <dgm:cxn modelId="{447B3524-E940-4DD1-9D00-D7180290E790}" type="presParOf" srcId="{55D51C34-AD2A-46FA-B61A-7B7EC3489C96}" destId="{D363E7DF-7731-44D0-BACB-72FE2F9DC0B3}" srcOrd="5" destOrd="0" presId="urn:microsoft.com/office/officeart/2005/8/layout/hList7"/>
    <dgm:cxn modelId="{BD701441-2D1B-47E9-8038-D3EDB6D06EF1}" type="presParOf" srcId="{55D51C34-AD2A-46FA-B61A-7B7EC3489C96}" destId="{0DCE3066-341A-4C16-AFA2-3B4E6C1ABA8B}" srcOrd="6" destOrd="0" presId="urn:microsoft.com/office/officeart/2005/8/layout/hList7"/>
    <dgm:cxn modelId="{A03795A4-AE37-4E30-AB4B-824CF3F2BF09}" type="presParOf" srcId="{0DCE3066-341A-4C16-AFA2-3B4E6C1ABA8B}" destId="{F20D745B-2BAC-4CA5-B147-E2826F4F9956}" srcOrd="0" destOrd="0" presId="urn:microsoft.com/office/officeart/2005/8/layout/hList7"/>
    <dgm:cxn modelId="{3978556C-175C-445F-8D50-3894459DFEA3}" type="presParOf" srcId="{0DCE3066-341A-4C16-AFA2-3B4E6C1ABA8B}" destId="{6CC355C7-C3E3-46B8-859F-2ECE44813530}" srcOrd="1" destOrd="0" presId="urn:microsoft.com/office/officeart/2005/8/layout/hList7"/>
    <dgm:cxn modelId="{9DA43B58-FEC3-44AA-8D98-ABADF0F2F0F7}" type="presParOf" srcId="{0DCE3066-341A-4C16-AFA2-3B4E6C1ABA8B}" destId="{1C773CB6-729C-408A-B231-C51938E4502D}" srcOrd="2" destOrd="0" presId="urn:microsoft.com/office/officeart/2005/8/layout/hList7"/>
    <dgm:cxn modelId="{BF99C5FC-DA1A-475D-BDDB-586B2F2FFFCA}" type="presParOf" srcId="{0DCE3066-341A-4C16-AFA2-3B4E6C1ABA8B}" destId="{89545B0D-0715-41D8-85BD-D60024ADB723}" srcOrd="3" destOrd="0" presId="urn:microsoft.com/office/officeart/2005/8/layout/hList7"/>
    <dgm:cxn modelId="{88491E2C-BC37-40DB-82F6-A9CBC2CD5017}" type="presParOf" srcId="{55D51C34-AD2A-46FA-B61A-7B7EC3489C96}" destId="{DB5AA2FA-A253-469C-9046-38696D9FFAA7}" srcOrd="7" destOrd="0" presId="urn:microsoft.com/office/officeart/2005/8/layout/hList7"/>
    <dgm:cxn modelId="{1ADC22FD-EF3A-4999-B5C4-79AB92349E8C}" type="presParOf" srcId="{55D51C34-AD2A-46FA-B61A-7B7EC3489C96}" destId="{BB1732FB-7715-43A8-AA60-FCB02A6A3F63}" srcOrd="8" destOrd="0" presId="urn:microsoft.com/office/officeart/2005/8/layout/hList7"/>
    <dgm:cxn modelId="{F059DF87-9D5A-49EE-9050-B4888A246630}" type="presParOf" srcId="{BB1732FB-7715-43A8-AA60-FCB02A6A3F63}" destId="{0D58C0E9-709A-407A-928F-CA7F5F5784E9}" srcOrd="0" destOrd="0" presId="urn:microsoft.com/office/officeart/2005/8/layout/hList7"/>
    <dgm:cxn modelId="{949C83D8-D1A7-41BF-97B6-2C4EC308A8B2}" type="presParOf" srcId="{BB1732FB-7715-43A8-AA60-FCB02A6A3F63}" destId="{3B351DA8-9B88-4A40-8632-98F0643D984D}" srcOrd="1" destOrd="0" presId="urn:microsoft.com/office/officeart/2005/8/layout/hList7"/>
    <dgm:cxn modelId="{2D4BFF20-1C65-4022-A070-FCED6DF5A8FD}" type="presParOf" srcId="{BB1732FB-7715-43A8-AA60-FCB02A6A3F63}" destId="{68316A43-3DA6-4D63-A424-A376A2394981}" srcOrd="2" destOrd="0" presId="urn:microsoft.com/office/officeart/2005/8/layout/hList7"/>
    <dgm:cxn modelId="{D1706911-1045-43A3-AACD-98E1B3825686}" type="presParOf" srcId="{BB1732FB-7715-43A8-AA60-FCB02A6A3F63}" destId="{186DF7BC-8B7A-4045-8742-54C5FF371FBE}" srcOrd="3" destOrd="0" presId="urn:microsoft.com/office/officeart/2005/8/layout/hList7"/>
    <dgm:cxn modelId="{AF3CFE05-9DC4-43C1-8EA8-4CB99D5D68D9}" type="presParOf" srcId="{55D51C34-AD2A-46FA-B61A-7B7EC3489C96}" destId="{C0D4026C-B5C5-4D28-8E60-9CB06AF08D3E}" srcOrd="9" destOrd="0" presId="urn:microsoft.com/office/officeart/2005/8/layout/hList7"/>
    <dgm:cxn modelId="{4ADDBB3A-F2C1-4218-9819-727DFA4C7EAF}" type="presParOf" srcId="{55D51C34-AD2A-46FA-B61A-7B7EC3489C96}" destId="{5D8FEC9F-FBC1-471B-9F3B-9B028F2EDB02}" srcOrd="10" destOrd="0" presId="urn:microsoft.com/office/officeart/2005/8/layout/hList7"/>
    <dgm:cxn modelId="{D9E2800B-61F8-4486-BCAF-F38885F59879}" type="presParOf" srcId="{5D8FEC9F-FBC1-471B-9F3B-9B028F2EDB02}" destId="{D5A2D323-B217-49E2-BCB8-359BC085F753}" srcOrd="0" destOrd="0" presId="urn:microsoft.com/office/officeart/2005/8/layout/hList7"/>
    <dgm:cxn modelId="{AF95056F-6BE7-4F67-8348-1D10E50469B2}" type="presParOf" srcId="{5D8FEC9F-FBC1-471B-9F3B-9B028F2EDB02}" destId="{AAB98293-A87A-4A6C-BCF1-0E45264F4220}" srcOrd="1" destOrd="0" presId="urn:microsoft.com/office/officeart/2005/8/layout/hList7"/>
    <dgm:cxn modelId="{605F088B-AAA5-41EA-9A95-C6569562B32A}" type="presParOf" srcId="{5D8FEC9F-FBC1-471B-9F3B-9B028F2EDB02}" destId="{F9715A9C-FF8E-4EE5-9258-7F4C4D45BBC7}" srcOrd="2" destOrd="0" presId="urn:microsoft.com/office/officeart/2005/8/layout/hList7"/>
    <dgm:cxn modelId="{0ED7CD3B-407B-4CF5-9709-019B9697B632}" type="presParOf" srcId="{5D8FEC9F-FBC1-471B-9F3B-9B028F2EDB02}" destId="{830828F9-3833-4FEE-BFE7-A0C082125B6B}" srcOrd="3" destOrd="0" presId="urn:microsoft.com/office/officeart/2005/8/layout/hList7"/>
    <dgm:cxn modelId="{FF060463-9B3F-402A-B097-37F6A986D542}" type="presParOf" srcId="{55D51C34-AD2A-46FA-B61A-7B7EC3489C96}" destId="{BED293A3-6462-47E4-9729-B4A3F2974785}" srcOrd="11" destOrd="0" presId="urn:microsoft.com/office/officeart/2005/8/layout/hList7"/>
    <dgm:cxn modelId="{A1964421-EC66-40EF-A4BF-52A307B54875}" type="presParOf" srcId="{55D51C34-AD2A-46FA-B61A-7B7EC3489C96}" destId="{B2118EC5-FF02-4C9D-AC11-9BFE20B01E51}" srcOrd="12" destOrd="0" presId="urn:microsoft.com/office/officeart/2005/8/layout/hList7"/>
    <dgm:cxn modelId="{15054A3A-B7FC-4235-BD75-EC27392D041F}" type="presParOf" srcId="{B2118EC5-FF02-4C9D-AC11-9BFE20B01E51}" destId="{33DCFAFF-FA9E-477E-BE1A-1E1023EBA308}" srcOrd="0" destOrd="0" presId="urn:microsoft.com/office/officeart/2005/8/layout/hList7"/>
    <dgm:cxn modelId="{1EFFDF28-171A-4512-9A62-384750C0D1A9}" type="presParOf" srcId="{B2118EC5-FF02-4C9D-AC11-9BFE20B01E51}" destId="{D229C98A-8A92-4289-A081-750580684200}" srcOrd="1" destOrd="0" presId="urn:microsoft.com/office/officeart/2005/8/layout/hList7"/>
    <dgm:cxn modelId="{6FD81F8B-C580-44DF-9BF3-5AA93BF4B39F}" type="presParOf" srcId="{B2118EC5-FF02-4C9D-AC11-9BFE20B01E51}" destId="{B68C15F7-2A4B-4F91-8564-B2F8478F36AF}" srcOrd="2" destOrd="0" presId="urn:microsoft.com/office/officeart/2005/8/layout/hList7"/>
    <dgm:cxn modelId="{CE3ED70F-9CAC-4889-B9FF-7AE1FF1D47AA}" type="presParOf" srcId="{B2118EC5-FF02-4C9D-AC11-9BFE20B01E51}" destId="{4FF33758-F335-4D46-BDDA-51D39FF52C0B}" srcOrd="3" destOrd="0" presId="urn:microsoft.com/office/officeart/2005/8/layout/hList7"/>
    <dgm:cxn modelId="{B0D12656-1AAF-4B9A-BAF6-64704BE3A95B}" type="presParOf" srcId="{55D51C34-AD2A-46FA-B61A-7B7EC3489C96}" destId="{75CC2EAC-8A87-4642-AD1E-31EF14E23EB5}" srcOrd="13" destOrd="0" presId="urn:microsoft.com/office/officeart/2005/8/layout/hList7"/>
    <dgm:cxn modelId="{AC7E86E9-88A7-453A-95D6-422E86C2C86D}" type="presParOf" srcId="{55D51C34-AD2A-46FA-B61A-7B7EC3489C96}" destId="{090C1A18-F554-4D45-93DF-6512E1C2AA14}" srcOrd="14" destOrd="0" presId="urn:microsoft.com/office/officeart/2005/8/layout/hList7"/>
    <dgm:cxn modelId="{92F78CAD-2B16-4B31-A403-F325E31FC2A7}" type="presParOf" srcId="{090C1A18-F554-4D45-93DF-6512E1C2AA14}" destId="{6F8FACA5-CA8A-4FA0-B00B-6815C9509CFA}" srcOrd="0" destOrd="0" presId="urn:microsoft.com/office/officeart/2005/8/layout/hList7"/>
    <dgm:cxn modelId="{D98E360F-2E1B-47BE-9431-C8723012C501}" type="presParOf" srcId="{090C1A18-F554-4D45-93DF-6512E1C2AA14}" destId="{D8291A62-CA87-4980-A8FC-47E064AAFB0D}" srcOrd="1" destOrd="0" presId="urn:microsoft.com/office/officeart/2005/8/layout/hList7"/>
    <dgm:cxn modelId="{CEBFA4FF-408B-4680-8265-183C0857E4EA}" type="presParOf" srcId="{090C1A18-F554-4D45-93DF-6512E1C2AA14}" destId="{12542CB0-CA98-44F1-A237-45B4A21AD271}" srcOrd="2" destOrd="0" presId="urn:microsoft.com/office/officeart/2005/8/layout/hList7"/>
    <dgm:cxn modelId="{AD500348-6372-47A6-BADB-43740D744224}" type="presParOf" srcId="{090C1A18-F554-4D45-93DF-6512E1C2AA14}" destId="{E037BC1A-7652-4136-9836-0F8CA1F37DDA}" srcOrd="3" destOrd="0" presId="urn:microsoft.com/office/officeart/2005/8/layout/hList7"/>
    <dgm:cxn modelId="{90B79921-52A4-4851-B9B1-41EF14D1A539}" type="presParOf" srcId="{55D51C34-AD2A-46FA-B61A-7B7EC3489C96}" destId="{237FEAF0-960D-4EA2-926A-F2E8E6E97E07}" srcOrd="15" destOrd="0" presId="urn:microsoft.com/office/officeart/2005/8/layout/hList7"/>
    <dgm:cxn modelId="{B06AE20E-0BB6-43C9-9861-D38D5A4FD333}" type="presParOf" srcId="{55D51C34-AD2A-46FA-B61A-7B7EC3489C96}" destId="{171747D6-6689-4A6C-8BD7-4857980D3D19}" srcOrd="16" destOrd="0" presId="urn:microsoft.com/office/officeart/2005/8/layout/hList7"/>
    <dgm:cxn modelId="{7033F5ED-5E2A-4DD8-87EC-A38546C325BC}" type="presParOf" srcId="{171747D6-6689-4A6C-8BD7-4857980D3D19}" destId="{A6D5A465-CC65-4FD1-9197-ADE004031CC0}" srcOrd="0" destOrd="0" presId="urn:microsoft.com/office/officeart/2005/8/layout/hList7"/>
    <dgm:cxn modelId="{89AAB1FC-E4A4-480C-A271-6DA05E2352D7}" type="presParOf" srcId="{171747D6-6689-4A6C-8BD7-4857980D3D19}" destId="{68EAE26B-5D2E-4DEF-B138-36D4DB0982D7}" srcOrd="1" destOrd="0" presId="urn:microsoft.com/office/officeart/2005/8/layout/hList7"/>
    <dgm:cxn modelId="{92389114-EBCE-40FF-876E-FB8D9F09069A}" type="presParOf" srcId="{171747D6-6689-4A6C-8BD7-4857980D3D19}" destId="{82025489-1552-4BB2-A90B-AED9E5B22AC3}" srcOrd="2" destOrd="0" presId="urn:microsoft.com/office/officeart/2005/8/layout/hList7"/>
    <dgm:cxn modelId="{6C04F2CE-D1E3-426D-99AA-398765EDC6D4}" type="presParOf" srcId="{171747D6-6689-4A6C-8BD7-4857980D3D19}" destId="{75DDC3B1-2A52-40A0-9E4A-BFF203B6B72D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CC6DFE3-68C2-4C1B-9AE4-F25A739B6E6D}">
      <dsp:nvSpPr>
        <dsp:cNvPr id="0" name=""/>
        <dsp:cNvSpPr/>
      </dsp:nvSpPr>
      <dsp:spPr>
        <a:xfrm>
          <a:off x="1895" y="-43900"/>
          <a:ext cx="1986359" cy="3783322"/>
        </a:xfrm>
        <a:prstGeom prst="roundRect">
          <a:avLst>
            <a:gd name="adj" fmla="val 1000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163576" rIns="163576" bIns="163576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>
              <a:solidFill>
                <a:schemeClr val="tx1"/>
              </a:solidFill>
            </a:rPr>
            <a:t>Academics</a:t>
          </a:r>
        </a:p>
      </dsp:txBody>
      <dsp:txXfrm>
        <a:off x="1895" y="1469428"/>
        <a:ext cx="1986359" cy="1513328"/>
      </dsp:txXfrm>
    </dsp:sp>
    <dsp:sp modelId="{A764E457-3AC6-4386-AADE-F64BA54005EC}">
      <dsp:nvSpPr>
        <dsp:cNvPr id="0" name=""/>
        <dsp:cNvSpPr/>
      </dsp:nvSpPr>
      <dsp:spPr>
        <a:xfrm>
          <a:off x="365151" y="183098"/>
          <a:ext cx="1259846" cy="1259846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84680F7-4EEF-46E5-8044-905449814E2D}">
      <dsp:nvSpPr>
        <dsp:cNvPr id="0" name=""/>
        <dsp:cNvSpPr/>
      </dsp:nvSpPr>
      <dsp:spPr>
        <a:xfrm>
          <a:off x="2047845" y="-43900"/>
          <a:ext cx="1986359" cy="3783322"/>
        </a:xfrm>
        <a:prstGeom prst="roundRect">
          <a:avLst>
            <a:gd name="adj" fmla="val 1000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163576" rIns="163576" bIns="163576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>
              <a:solidFill>
                <a:schemeClr val="tx1"/>
              </a:solidFill>
            </a:rPr>
            <a:t>Admissions</a:t>
          </a:r>
        </a:p>
      </dsp:txBody>
      <dsp:txXfrm>
        <a:off x="2047845" y="1469428"/>
        <a:ext cx="1986359" cy="1513328"/>
      </dsp:txXfrm>
    </dsp:sp>
    <dsp:sp modelId="{7FB773B4-9BAE-4ABE-9F22-2F15BE0CF1C0}">
      <dsp:nvSpPr>
        <dsp:cNvPr id="0" name=""/>
        <dsp:cNvSpPr/>
      </dsp:nvSpPr>
      <dsp:spPr>
        <a:xfrm>
          <a:off x="2411101" y="183098"/>
          <a:ext cx="1259846" cy="1259846"/>
        </a:xfrm>
        <a:prstGeom prst="ellipse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448EB4-A1FA-4B5C-A7BD-578D099C49CB}">
      <dsp:nvSpPr>
        <dsp:cNvPr id="0" name=""/>
        <dsp:cNvSpPr/>
      </dsp:nvSpPr>
      <dsp:spPr>
        <a:xfrm>
          <a:off x="4093795" y="-43900"/>
          <a:ext cx="1986359" cy="3783322"/>
        </a:xfrm>
        <a:prstGeom prst="roundRect">
          <a:avLst>
            <a:gd name="adj" fmla="val 1000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163576" rIns="163576" bIns="163576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>
              <a:solidFill>
                <a:schemeClr val="tx1"/>
              </a:solidFill>
            </a:rPr>
            <a:t>Financial Aid &amp; Student Accounts</a:t>
          </a:r>
        </a:p>
      </dsp:txBody>
      <dsp:txXfrm>
        <a:off x="4093795" y="1469428"/>
        <a:ext cx="1986359" cy="1513328"/>
      </dsp:txXfrm>
    </dsp:sp>
    <dsp:sp modelId="{770A19E3-379B-4C00-87FC-54CAA70BF40F}">
      <dsp:nvSpPr>
        <dsp:cNvPr id="0" name=""/>
        <dsp:cNvSpPr/>
      </dsp:nvSpPr>
      <dsp:spPr>
        <a:xfrm>
          <a:off x="4457051" y="183098"/>
          <a:ext cx="1259846" cy="1259846"/>
        </a:xfrm>
        <a:prstGeom prst="ellipse">
          <a:avLst/>
        </a:prstGeom>
        <a:blipFill>
          <a:blip xmlns:r="http://schemas.openxmlformats.org/officeDocument/2006/relationships" r:embed="rId3"/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20D745B-2BAC-4CA5-B147-E2826F4F9956}">
      <dsp:nvSpPr>
        <dsp:cNvPr id="0" name=""/>
        <dsp:cNvSpPr/>
      </dsp:nvSpPr>
      <dsp:spPr>
        <a:xfrm>
          <a:off x="6139745" y="-43900"/>
          <a:ext cx="1986359" cy="3783322"/>
        </a:xfrm>
        <a:prstGeom prst="roundRect">
          <a:avLst>
            <a:gd name="adj" fmla="val 1000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163576" rIns="163576" bIns="163576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>
              <a:solidFill>
                <a:schemeClr val="tx1"/>
              </a:solidFill>
            </a:rPr>
            <a:t>Anthology</a:t>
          </a:r>
        </a:p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>
              <a:solidFill>
                <a:schemeClr val="tx1"/>
              </a:solidFill>
            </a:rPr>
            <a:t>Finance</a:t>
          </a:r>
        </a:p>
      </dsp:txBody>
      <dsp:txXfrm>
        <a:off x="6139745" y="1469428"/>
        <a:ext cx="1986359" cy="1513328"/>
      </dsp:txXfrm>
    </dsp:sp>
    <dsp:sp modelId="{89545B0D-0715-41D8-85BD-D60024ADB723}">
      <dsp:nvSpPr>
        <dsp:cNvPr id="0" name=""/>
        <dsp:cNvSpPr/>
      </dsp:nvSpPr>
      <dsp:spPr>
        <a:xfrm>
          <a:off x="6456198" y="137630"/>
          <a:ext cx="1259846" cy="1259846"/>
        </a:xfrm>
        <a:prstGeom prst="ellipse">
          <a:avLst/>
        </a:prstGeom>
        <a:blipFill>
          <a:blip xmlns:r="http://schemas.openxmlformats.org/officeDocument/2006/relationships" r:embed="rId4"/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6AFF17F-36C1-4D36-A1BC-16C2E59278E0}">
      <dsp:nvSpPr>
        <dsp:cNvPr id="0" name=""/>
        <dsp:cNvSpPr/>
      </dsp:nvSpPr>
      <dsp:spPr>
        <a:xfrm>
          <a:off x="325119" y="2624546"/>
          <a:ext cx="7477760" cy="1121433"/>
        </a:xfrm>
        <a:prstGeom prst="leftRightArrow">
          <a:avLst/>
        </a:prstGeom>
        <a:solidFill>
          <a:schemeClr val="bg2">
            <a:lumMod val="9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CC6DFE3-68C2-4C1B-9AE4-F25A739B6E6D}">
      <dsp:nvSpPr>
        <dsp:cNvPr id="0" name=""/>
        <dsp:cNvSpPr/>
      </dsp:nvSpPr>
      <dsp:spPr>
        <a:xfrm>
          <a:off x="3522" y="-43743"/>
          <a:ext cx="1164363" cy="3769744"/>
        </a:xfrm>
        <a:prstGeom prst="roundRect">
          <a:avLst>
            <a:gd name="adj" fmla="val 1000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1"/>
              </a:solidFill>
            </a:rPr>
            <a:t>Academics</a:t>
          </a:r>
        </a:p>
      </dsp:txBody>
      <dsp:txXfrm>
        <a:off x="3522" y="1464154"/>
        <a:ext cx="1164363" cy="1507897"/>
      </dsp:txXfrm>
    </dsp:sp>
    <dsp:sp modelId="{A764E457-3AC6-4386-AADE-F64BA54005EC}">
      <dsp:nvSpPr>
        <dsp:cNvPr id="0" name=""/>
        <dsp:cNvSpPr/>
      </dsp:nvSpPr>
      <dsp:spPr>
        <a:xfrm>
          <a:off x="38452" y="182441"/>
          <a:ext cx="1094502" cy="1255324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84680F7-4EEF-46E5-8044-905449814E2D}">
      <dsp:nvSpPr>
        <dsp:cNvPr id="0" name=""/>
        <dsp:cNvSpPr/>
      </dsp:nvSpPr>
      <dsp:spPr>
        <a:xfrm>
          <a:off x="1202816" y="-43743"/>
          <a:ext cx="1164363" cy="3769744"/>
        </a:xfrm>
        <a:prstGeom prst="roundRect">
          <a:avLst>
            <a:gd name="adj" fmla="val 1000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1"/>
              </a:solidFill>
            </a:rPr>
            <a:t>Admissions</a:t>
          </a:r>
        </a:p>
      </dsp:txBody>
      <dsp:txXfrm>
        <a:off x="1202816" y="1464154"/>
        <a:ext cx="1164363" cy="1507897"/>
      </dsp:txXfrm>
    </dsp:sp>
    <dsp:sp modelId="{7FB773B4-9BAE-4ABE-9F22-2F15BE0CF1C0}">
      <dsp:nvSpPr>
        <dsp:cNvPr id="0" name=""/>
        <dsp:cNvSpPr/>
      </dsp:nvSpPr>
      <dsp:spPr>
        <a:xfrm>
          <a:off x="1237747" y="182441"/>
          <a:ext cx="1094502" cy="1255324"/>
        </a:xfrm>
        <a:prstGeom prst="ellipse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448EB4-A1FA-4B5C-A7BD-578D099C49CB}">
      <dsp:nvSpPr>
        <dsp:cNvPr id="0" name=""/>
        <dsp:cNvSpPr/>
      </dsp:nvSpPr>
      <dsp:spPr>
        <a:xfrm>
          <a:off x="2402111" y="-43743"/>
          <a:ext cx="1164363" cy="3769744"/>
        </a:xfrm>
        <a:prstGeom prst="roundRect">
          <a:avLst>
            <a:gd name="adj" fmla="val 1000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1"/>
              </a:solidFill>
            </a:rPr>
            <a:t>Financial Aid &amp; Student Accounts</a:t>
          </a:r>
        </a:p>
      </dsp:txBody>
      <dsp:txXfrm>
        <a:off x="2402111" y="1464154"/>
        <a:ext cx="1164363" cy="1507897"/>
      </dsp:txXfrm>
    </dsp:sp>
    <dsp:sp modelId="{770A19E3-379B-4C00-87FC-54CAA70BF40F}">
      <dsp:nvSpPr>
        <dsp:cNvPr id="0" name=""/>
        <dsp:cNvSpPr/>
      </dsp:nvSpPr>
      <dsp:spPr>
        <a:xfrm>
          <a:off x="2437042" y="182441"/>
          <a:ext cx="1094502" cy="1255324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20D745B-2BAC-4CA5-B147-E2826F4F9956}">
      <dsp:nvSpPr>
        <dsp:cNvPr id="0" name=""/>
        <dsp:cNvSpPr/>
      </dsp:nvSpPr>
      <dsp:spPr>
        <a:xfrm>
          <a:off x="3601406" y="-43743"/>
          <a:ext cx="1164363" cy="3769744"/>
        </a:xfrm>
        <a:prstGeom prst="roundRect">
          <a:avLst>
            <a:gd name="adj" fmla="val 10000"/>
          </a:avLst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1"/>
              </a:solidFill>
            </a:rPr>
            <a:t>Anthology Finance</a:t>
          </a:r>
        </a:p>
      </dsp:txBody>
      <dsp:txXfrm>
        <a:off x="3601406" y="1464154"/>
        <a:ext cx="1164363" cy="1507897"/>
      </dsp:txXfrm>
    </dsp:sp>
    <dsp:sp modelId="{89545B0D-0715-41D8-85BD-D60024ADB723}">
      <dsp:nvSpPr>
        <dsp:cNvPr id="0" name=""/>
        <dsp:cNvSpPr/>
      </dsp:nvSpPr>
      <dsp:spPr>
        <a:xfrm>
          <a:off x="3595676" y="137136"/>
          <a:ext cx="1094502" cy="1255324"/>
        </a:xfrm>
        <a:prstGeom prst="ellipse">
          <a:avLst/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D58C0E9-709A-407A-928F-CA7F5F5784E9}">
      <dsp:nvSpPr>
        <dsp:cNvPr id="0" name=""/>
        <dsp:cNvSpPr/>
      </dsp:nvSpPr>
      <dsp:spPr>
        <a:xfrm>
          <a:off x="4800701" y="-43743"/>
          <a:ext cx="1164363" cy="376974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Advancement</a:t>
          </a:r>
        </a:p>
      </dsp:txBody>
      <dsp:txXfrm>
        <a:off x="4800701" y="1464154"/>
        <a:ext cx="1164363" cy="1507897"/>
      </dsp:txXfrm>
    </dsp:sp>
    <dsp:sp modelId="{186DF7BC-8B7A-4045-8742-54C5FF371FBE}">
      <dsp:nvSpPr>
        <dsp:cNvPr id="0" name=""/>
        <dsp:cNvSpPr/>
      </dsp:nvSpPr>
      <dsp:spPr>
        <a:xfrm>
          <a:off x="4835631" y="182441"/>
          <a:ext cx="1094502" cy="1255324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 l="-7000" r="-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5A2D323-B217-49E2-BCB8-359BC085F753}">
      <dsp:nvSpPr>
        <dsp:cNvPr id="0" name=""/>
        <dsp:cNvSpPr/>
      </dsp:nvSpPr>
      <dsp:spPr>
        <a:xfrm>
          <a:off x="5999995" y="-43743"/>
          <a:ext cx="1164363" cy="376974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Marketing</a:t>
          </a:r>
        </a:p>
      </dsp:txBody>
      <dsp:txXfrm>
        <a:off x="5999995" y="1464154"/>
        <a:ext cx="1164363" cy="1507897"/>
      </dsp:txXfrm>
    </dsp:sp>
    <dsp:sp modelId="{830828F9-3833-4FEE-BFE7-A0C082125B6B}">
      <dsp:nvSpPr>
        <dsp:cNvPr id="0" name=""/>
        <dsp:cNvSpPr/>
      </dsp:nvSpPr>
      <dsp:spPr>
        <a:xfrm>
          <a:off x="6034926" y="182441"/>
          <a:ext cx="1094502" cy="1255324"/>
        </a:xfrm>
        <a:prstGeom prst="ellipse">
          <a:avLst/>
        </a:prstGeom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 l="-7000" r="-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3DCFAFF-FA9E-477E-BE1A-1E1023EBA308}">
      <dsp:nvSpPr>
        <dsp:cNvPr id="0" name=""/>
        <dsp:cNvSpPr/>
      </dsp:nvSpPr>
      <dsp:spPr>
        <a:xfrm>
          <a:off x="7199290" y="-43743"/>
          <a:ext cx="1164363" cy="376974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Student Affairs</a:t>
          </a:r>
        </a:p>
      </dsp:txBody>
      <dsp:txXfrm>
        <a:off x="7199290" y="1464154"/>
        <a:ext cx="1164363" cy="1507897"/>
      </dsp:txXfrm>
    </dsp:sp>
    <dsp:sp modelId="{4FF33758-F335-4D46-BDDA-51D39FF52C0B}">
      <dsp:nvSpPr>
        <dsp:cNvPr id="0" name=""/>
        <dsp:cNvSpPr/>
      </dsp:nvSpPr>
      <dsp:spPr>
        <a:xfrm>
          <a:off x="7234221" y="182441"/>
          <a:ext cx="1094502" cy="1255324"/>
        </a:xfrm>
        <a:prstGeom prst="ellipse">
          <a:avLst/>
        </a:prstGeom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 l="-7000" r="-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F8FACA5-CA8A-4FA0-B00B-6815C9509CFA}">
      <dsp:nvSpPr>
        <dsp:cNvPr id="0" name=""/>
        <dsp:cNvSpPr/>
      </dsp:nvSpPr>
      <dsp:spPr>
        <a:xfrm>
          <a:off x="8398585" y="-43743"/>
          <a:ext cx="1164363" cy="376974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Institutional Research</a:t>
          </a:r>
        </a:p>
      </dsp:txBody>
      <dsp:txXfrm>
        <a:off x="8398585" y="1464154"/>
        <a:ext cx="1164363" cy="1507897"/>
      </dsp:txXfrm>
    </dsp:sp>
    <dsp:sp modelId="{E037BC1A-7652-4136-9836-0F8CA1F37DDA}">
      <dsp:nvSpPr>
        <dsp:cNvPr id="0" name=""/>
        <dsp:cNvSpPr/>
      </dsp:nvSpPr>
      <dsp:spPr>
        <a:xfrm>
          <a:off x="8433516" y="182441"/>
          <a:ext cx="1094502" cy="1255324"/>
        </a:xfrm>
        <a:prstGeom prst="ellipse">
          <a:avLst/>
        </a:prstGeom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 l="-7000" r="-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6D5A465-CC65-4FD1-9197-ADE004031CC0}">
      <dsp:nvSpPr>
        <dsp:cNvPr id="0" name=""/>
        <dsp:cNvSpPr/>
      </dsp:nvSpPr>
      <dsp:spPr>
        <a:xfrm>
          <a:off x="9597880" y="-43743"/>
          <a:ext cx="1164363" cy="376974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Operations</a:t>
          </a:r>
        </a:p>
      </dsp:txBody>
      <dsp:txXfrm>
        <a:off x="9597880" y="1464154"/>
        <a:ext cx="1164363" cy="1507897"/>
      </dsp:txXfrm>
    </dsp:sp>
    <dsp:sp modelId="{75DDC3B1-2A52-40A0-9E4A-BFF203B6B72D}">
      <dsp:nvSpPr>
        <dsp:cNvPr id="0" name=""/>
        <dsp:cNvSpPr/>
      </dsp:nvSpPr>
      <dsp:spPr>
        <a:xfrm>
          <a:off x="9632811" y="182441"/>
          <a:ext cx="1094502" cy="1255324"/>
        </a:xfrm>
        <a:prstGeom prst="ellipse">
          <a:avLst/>
        </a:prstGeom>
        <a:blipFill>
          <a:blip xmlns:r="http://schemas.openxmlformats.org/officeDocument/2006/relationships"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>
            <a:fillRect l="-7000" r="-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6AFF17F-36C1-4D36-A1BC-16C2E59278E0}">
      <dsp:nvSpPr>
        <dsp:cNvPr id="0" name=""/>
        <dsp:cNvSpPr/>
      </dsp:nvSpPr>
      <dsp:spPr>
        <a:xfrm>
          <a:off x="440039" y="2545202"/>
          <a:ext cx="9904504" cy="1117408"/>
        </a:xfrm>
        <a:prstGeom prst="leftRightArrow">
          <a:avLst/>
        </a:prstGeom>
        <a:solidFill>
          <a:schemeClr val="bg2">
            <a:lumMod val="9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3A1043-0D00-4BCE-BAD1-9CBE1C04D8C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-1"/>
            <a:ext cx="6123214" cy="4587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34AF02-F8BE-4B26-B29D-456C00091E0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6123214" y="0"/>
            <a:ext cx="734786" cy="4587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fld id="{82DCD2D4-B13C-4259-B2B2-3349081D568D}" type="slidenum">
              <a:rPr lang="en-US" sz="1000" smtClean="0"/>
              <a:t>‹#›</a:t>
            </a:fld>
            <a:endParaRPr lang="en-US" sz="1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BA9FC24-219D-4CF9-A58C-1EDD8323A4E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13413" y="8434228"/>
            <a:ext cx="819602" cy="480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2231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20486" y="579664"/>
            <a:ext cx="3037114" cy="1708377"/>
          </a:xfrm>
          <a:prstGeom prst="rect">
            <a:avLst/>
          </a:prstGeom>
          <a:noFill/>
          <a:ln w="3175">
            <a:solidFill>
              <a:schemeClr val="tx2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20486" y="2408917"/>
            <a:ext cx="5551714" cy="559208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0"/>
            <a:ext cx="5861956" cy="4587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/>
            </a:lvl1pPr>
          </a:lstStyle>
          <a:p>
            <a:endParaRPr lang="en-US" sz="100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61956" y="-1"/>
            <a:ext cx="996045" cy="4587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/>
            </a:lvl1pPr>
          </a:lstStyle>
          <a:p>
            <a:fld id="{03912913-C710-47E0-B94F-98BCD4BCF7D6}" type="slidenum">
              <a:rPr lang="en-US" smtClean="0"/>
              <a:pPr/>
              <a:t>‹#›</a:t>
            </a:fld>
            <a:endParaRPr lang="en-US" sz="10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0829058-B4D2-42EB-8F57-D10118AC124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13413" y="8434228"/>
            <a:ext cx="819602" cy="480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22064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2.emf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4.png"/><Relationship Id="rId4" Type="http://schemas.openxmlformats.org/officeDocument/2006/relationships/image" Target="../media/image5.jpe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4" Type="http://schemas.openxmlformats.org/officeDocument/2006/relationships/image" Target="../media/image7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4" Type="http://schemas.openxmlformats.org/officeDocument/2006/relationships/image" Target="../media/image8.jpe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4" Type="http://schemas.openxmlformats.org/officeDocument/2006/relationships/image" Target="../media/image9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4" Type="http://schemas.openxmlformats.org/officeDocument/2006/relationships/image" Target="../media/image10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4" Type="http://schemas.openxmlformats.org/officeDocument/2006/relationships/image" Target="../media/image11.jpe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4" Type="http://schemas.openxmlformats.org/officeDocument/2006/relationships/image" Target="../media/image12.jpe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4" Type="http://schemas.openxmlformats.org/officeDocument/2006/relationships/image" Target="../media/image6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4" Type="http://schemas.openxmlformats.org/officeDocument/2006/relationships/image" Target="../media/image6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4" Type="http://schemas.openxmlformats.org/officeDocument/2006/relationships/image" Target="../media/image6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4" Type="http://schemas.openxmlformats.org/officeDocument/2006/relationships/image" Target="../media/image6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4" Type="http://schemas.openxmlformats.org/officeDocument/2006/relationships/image" Target="../media/image6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4" Type="http://schemas.openxmlformats.org/officeDocument/2006/relationships/image" Target="../media/image13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15.emf"/><Relationship Id="rId4" Type="http://schemas.openxmlformats.org/officeDocument/2006/relationships/image" Target="../media/image14.jpe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15.emf"/><Relationship Id="rId4" Type="http://schemas.openxmlformats.org/officeDocument/2006/relationships/image" Target="../media/image16.jpe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image" Target="../media/image17.jpeg"/><Relationship Id="rId4" Type="http://schemas.openxmlformats.org/officeDocument/2006/relationships/image" Target="../media/image15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image" Target="../media/image15.emf"/><Relationship Id="rId4" Type="http://schemas.openxmlformats.org/officeDocument/2006/relationships/image" Target="../media/image18.jpe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../media/image15.emf"/><Relationship Id="rId4" Type="http://schemas.openxmlformats.org/officeDocument/2006/relationships/image" Target="../media/image19.jpe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../media/image15.emf"/><Relationship Id="rId4" Type="http://schemas.openxmlformats.org/officeDocument/2006/relationships/image" Target="../media/image20.jpe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15.emf"/><Relationship Id="rId4" Type="http://schemas.openxmlformats.org/officeDocument/2006/relationships/image" Target="../media/image21.jpe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4" Type="http://schemas.openxmlformats.org/officeDocument/2006/relationships/image" Target="../media/image15.emf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>
            <a:extLst>
              <a:ext uri="{FF2B5EF4-FFF2-40B4-BE49-F238E27FC236}">
                <a16:creationId xmlns:a16="http://schemas.microsoft.com/office/drawing/2014/main" id="{C6F0F82D-DAB4-F442-A1EF-4FFF90321E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5462649" cy="61769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3AD3F1B-6514-1946-9D1A-5523E60EB6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256182" y="2096646"/>
            <a:ext cx="2602319" cy="25146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7245169-8F76-8C4A-BCB7-A88BE50181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346719" y="2096646"/>
            <a:ext cx="2511783" cy="25146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unito Sans Light" pitchFamily="2" charset="77"/>
                <a:ea typeface="+mn-ea"/>
                <a:cs typeface="+mn-cs"/>
              </a:rPr>
              <a:t> 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8DBF907-AC21-9141-8503-A925D9043E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2954294" y="3169280"/>
            <a:ext cx="12966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 pitchFamily="2" charset="77"/>
                <a:ea typeface="Roboto Medium" panose="02000000000000000000" pitchFamily="2" charset="0"/>
                <a:cs typeface="Roboto Medium" panose="02000000000000000000" pitchFamily="2" charset="0"/>
              </a:rPr>
              <a:t>Headshot</a:t>
            </a:r>
          </a:p>
        </p:txBody>
      </p:sp>
      <p:sp>
        <p:nvSpPr>
          <p:cNvPr id="32" name="Name">
            <a:extLst>
              <a:ext uri="{FF2B5EF4-FFF2-40B4-BE49-F238E27FC236}">
                <a16:creationId xmlns:a16="http://schemas.microsoft.com/office/drawing/2014/main" id="{8F289818-772D-A140-AA34-CF35FE3184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0" y="2383822"/>
            <a:ext cx="4279900" cy="457200"/>
          </a:xfrm>
        </p:spPr>
        <p:txBody>
          <a:bodyPr anchor="b" anchorCtr="0"/>
          <a:lstStyle>
            <a:lvl1pPr marL="0" indent="0" algn="l">
              <a:buClr>
                <a:schemeClr val="accent4"/>
              </a:buClr>
              <a:buFontTx/>
              <a:buNone/>
              <a:defRPr sz="2000" b="0" i="0" spc="0">
                <a:latin typeface="+mj-lt"/>
                <a:ea typeface="Roboto Medium" panose="02000000000000000000" pitchFamily="2" charset="0"/>
                <a:cs typeface="Roboto Medium" panose="02000000000000000000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itle">
            <a:extLst>
              <a:ext uri="{FF2B5EF4-FFF2-40B4-BE49-F238E27FC236}">
                <a16:creationId xmlns:a16="http://schemas.microsoft.com/office/drawing/2014/main" id="{B4C7420B-45DC-474D-99FE-866DCAFF65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00" y="3025024"/>
            <a:ext cx="4279900" cy="320040"/>
          </a:xfrm>
        </p:spPr>
        <p:txBody>
          <a:bodyPr anchor="b" anchorCtr="0"/>
          <a:lstStyle>
            <a:lvl1pPr marL="0" indent="0" algn="l">
              <a:buFontTx/>
              <a:buNone/>
              <a:defRPr sz="2000" b="0" i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itle">
            <a:extLst>
              <a:ext uri="{FF2B5EF4-FFF2-40B4-BE49-F238E27FC236}">
                <a16:creationId xmlns:a16="http://schemas.microsoft.com/office/drawing/2014/main" id="{F5C5D172-A280-E343-A9FF-76539997ADD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00" y="3410507"/>
            <a:ext cx="4279900" cy="320040"/>
          </a:xfrm>
        </p:spPr>
        <p:txBody>
          <a:bodyPr anchor="b" anchorCtr="0"/>
          <a:lstStyle>
            <a:lvl1pPr marL="0" indent="0" algn="l">
              <a:buFontTx/>
              <a:buNone/>
              <a:defRPr sz="2000" b="0" i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Contact Info">
            <a:extLst>
              <a:ext uri="{FF2B5EF4-FFF2-40B4-BE49-F238E27FC236}">
                <a16:creationId xmlns:a16="http://schemas.microsoft.com/office/drawing/2014/main" id="{6F4BB36E-4DA6-BD40-87B9-AC4AAB97D17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96000" y="3914549"/>
            <a:ext cx="4279900" cy="320040"/>
          </a:xfrm>
        </p:spPr>
        <p:txBody>
          <a:bodyPr anchor="b" anchorCtr="0"/>
          <a:lstStyle>
            <a:lvl1pPr marL="0" indent="0" algn="l">
              <a:buFontTx/>
              <a:buNone/>
              <a:defRPr sz="1600" b="0" i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Picture Placeholder 5">
            <a:extLst>
              <a:ext uri="{FF2B5EF4-FFF2-40B4-BE49-F238E27FC236}">
                <a16:creationId xmlns:a16="http://schemas.microsoft.com/office/drawing/2014/main" id="{951E437E-C5AA-3740-8222-BE69F3897B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346752" y="2096646"/>
            <a:ext cx="2511750" cy="2514600"/>
          </a:xfrm>
        </p:spPr>
        <p:txBody>
          <a:bodyPr tIns="274320"/>
          <a:lstStyle>
            <a:lvl1pPr algn="ctr">
              <a:buNone/>
              <a:defRPr b="0" i="0"/>
            </a:lvl1pPr>
          </a:lstStyle>
          <a:p>
            <a:r>
              <a:rPr lang="en-US" dirty="0"/>
              <a:t>Click icon to insert image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BEC7E80B-BEA4-402F-83AA-50D9834C817E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6" name="Footer Placeholder 5" hidden="1">
            <a:extLst>
              <a:ext uri="{FF2B5EF4-FFF2-40B4-BE49-F238E27FC236}">
                <a16:creationId xmlns:a16="http://schemas.microsoft.com/office/drawing/2014/main" id="{65FAC813-B34C-46E5-BA68-FE76BFC664A6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3" name="Logo protection area" hidden="1">
            <a:extLst>
              <a:ext uri="{FF2B5EF4-FFF2-40B4-BE49-F238E27FC236}">
                <a16:creationId xmlns:a16="http://schemas.microsoft.com/office/drawing/2014/main" id="{AB64CC43-6CA7-47D5-9DD9-C2EDD9A77B01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6186276"/>
            <a:ext cx="12192000" cy="67172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4" name="Layout protection area" hidden="1">
            <a:extLst>
              <a:ext uri="{FF2B5EF4-FFF2-40B4-BE49-F238E27FC236}">
                <a16:creationId xmlns:a16="http://schemas.microsoft.com/office/drawing/2014/main" id="{6D2EF5E1-D905-4BE3-B616-3494E88FD74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76098" cy="604361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380CA8-A72A-4D2A-9CC8-3A5723A3AB1D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9396FD-A8D2-5548-97AD-44EE9AACF15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Roboto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unito Sans Light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79086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336A4FE-11E5-E94D-9D99-82A470076E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91162"/>
            <a:ext cx="10789920" cy="10804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FE2BE53-EFCE-6645-8D92-1BCAFB43A0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5800" y="1600199"/>
            <a:ext cx="5330952" cy="4443413"/>
          </a:xfrm>
        </p:spPr>
        <p:txBody>
          <a:bodyPr/>
          <a:lstStyle>
            <a:lvl1pPr marL="228600" indent="-228600">
              <a:lnSpc>
                <a:spcPct val="110000"/>
              </a:lnSpc>
              <a:buClr>
                <a:schemeClr val="accent4"/>
              </a:buClr>
              <a:buSzPct val="120000"/>
              <a:buFont typeface="Arial" panose="020B0604020202020204" pitchFamily="34" charset="0"/>
              <a:buChar char="•"/>
              <a:defRPr b="0" i="0">
                <a:latin typeface="Nunito Sans Light" pitchFamily="2" charset="77"/>
              </a:defRPr>
            </a:lvl1pPr>
            <a:lvl2pPr marL="685800" indent="-228600">
              <a:lnSpc>
                <a:spcPct val="110000"/>
              </a:lnSpc>
              <a:buSzPct val="120000"/>
              <a:buFont typeface="Arial" panose="020B0604020202020204" pitchFamily="34" charset="0"/>
              <a:buChar char="•"/>
              <a:defRPr b="0" i="0">
                <a:latin typeface="Nunito Sans Light" pitchFamily="2" charset="77"/>
              </a:defRPr>
            </a:lvl2pPr>
            <a:lvl3pPr marL="1143000" indent="-228600">
              <a:lnSpc>
                <a:spcPct val="110000"/>
              </a:lnSpc>
              <a:buSzPct val="120000"/>
              <a:buFont typeface="Arial" panose="020B0604020202020204" pitchFamily="34" charset="0"/>
              <a:buChar char="•"/>
              <a:defRPr b="0" i="0">
                <a:latin typeface="Nunito Sans Light" pitchFamily="2" charset="77"/>
              </a:defRPr>
            </a:lvl3pPr>
            <a:lvl4pPr marL="1600200" indent="-228600">
              <a:lnSpc>
                <a:spcPct val="110000"/>
              </a:lnSpc>
              <a:buSzPct val="120000"/>
              <a:buFont typeface="Arial" panose="020B0604020202020204" pitchFamily="34" charset="0"/>
              <a:buChar char="•"/>
              <a:defRPr b="0" i="0">
                <a:latin typeface="Nunito Sans Light" pitchFamily="2" charset="77"/>
              </a:defRPr>
            </a:lvl4pPr>
            <a:lvl5pPr marL="2057400" indent="-228600">
              <a:lnSpc>
                <a:spcPct val="110000"/>
              </a:lnSpc>
              <a:buSzPct val="120000"/>
              <a:buFont typeface="Arial" panose="020B0604020202020204" pitchFamily="34" charset="0"/>
              <a:buChar char="•"/>
              <a:defRPr b="0" i="0">
                <a:latin typeface="Nunito Sa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672653BD-481F-AF48-BB6B-0C2CAB4F87A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44768" y="1600199"/>
            <a:ext cx="5330952" cy="4443413"/>
          </a:xfrm>
        </p:spPr>
        <p:txBody>
          <a:bodyPr/>
          <a:lstStyle>
            <a:lvl1pPr marL="228600" indent="-228600">
              <a:lnSpc>
                <a:spcPct val="110000"/>
              </a:lnSpc>
              <a:buClr>
                <a:schemeClr val="accent4"/>
              </a:buClr>
              <a:buSzPct val="120000"/>
              <a:buFont typeface="Arial" panose="020B0604020202020204" pitchFamily="34" charset="0"/>
              <a:buChar char="•"/>
              <a:defRPr b="0" i="0">
                <a:latin typeface="Nunito Sans Light" pitchFamily="2" charset="77"/>
              </a:defRPr>
            </a:lvl1pPr>
            <a:lvl2pPr marL="685800" indent="-228600">
              <a:lnSpc>
                <a:spcPct val="110000"/>
              </a:lnSpc>
              <a:buSzPct val="120000"/>
              <a:buFont typeface="Arial" panose="020B0604020202020204" pitchFamily="34" charset="0"/>
              <a:buChar char="•"/>
              <a:defRPr b="0" i="0">
                <a:latin typeface="Nunito Sans Light" pitchFamily="2" charset="77"/>
              </a:defRPr>
            </a:lvl2pPr>
            <a:lvl3pPr marL="1143000" indent="-228600">
              <a:lnSpc>
                <a:spcPct val="110000"/>
              </a:lnSpc>
              <a:buSzPct val="120000"/>
              <a:buFont typeface="Arial" panose="020B0604020202020204" pitchFamily="34" charset="0"/>
              <a:buChar char="•"/>
              <a:defRPr b="0" i="0">
                <a:latin typeface="Nunito Sans Light" pitchFamily="2" charset="77"/>
              </a:defRPr>
            </a:lvl3pPr>
            <a:lvl4pPr marL="1600200" indent="-228600">
              <a:lnSpc>
                <a:spcPct val="110000"/>
              </a:lnSpc>
              <a:buSzPct val="120000"/>
              <a:buFont typeface="Arial" panose="020B0604020202020204" pitchFamily="34" charset="0"/>
              <a:buChar char="•"/>
              <a:defRPr b="0" i="0">
                <a:latin typeface="Nunito Sans Light" pitchFamily="2" charset="77"/>
              </a:defRPr>
            </a:lvl4pPr>
            <a:lvl5pPr marL="2057400" indent="-228600">
              <a:lnSpc>
                <a:spcPct val="110000"/>
              </a:lnSpc>
              <a:buSzPct val="120000"/>
              <a:buFont typeface="Arial" panose="020B0604020202020204" pitchFamily="34" charset="0"/>
              <a:buChar char="•"/>
              <a:defRPr b="0" i="0">
                <a:latin typeface="Nunito Sa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F467DCF8-6FDB-48D8-95D4-458A796382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BCFA018C-D31F-43C8-98D5-A0F6878355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11" name="Layout Protection area" hidden="1">
            <a:extLst>
              <a:ext uri="{FF2B5EF4-FFF2-40B4-BE49-F238E27FC236}">
                <a16:creationId xmlns:a16="http://schemas.microsoft.com/office/drawing/2014/main" id="{EFC6663A-EFF2-4B7C-80F9-58DCAA5B4391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1572242"/>
            <a:ext cx="12176098" cy="529507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CA3830C-373E-42C5-A8DF-E9DFEF7E7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9396FD-A8D2-5548-97AD-44EE9AACF15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Roboto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unito Sans Light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20400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4094731B-A2B2-4A94-B583-3AEEE32224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Left">
            <a:extLst>
              <a:ext uri="{FF2B5EF4-FFF2-40B4-BE49-F238E27FC236}">
                <a16:creationId xmlns:a16="http://schemas.microsoft.com/office/drawing/2014/main" id="{6F05AC79-1721-4D32-8664-ABDF368BA7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799" y="1600200"/>
            <a:ext cx="5330952" cy="457200"/>
          </a:xfrm>
        </p:spPr>
        <p:txBody>
          <a:bodyPr anchor="b"/>
          <a:lstStyle>
            <a:lvl1pPr marL="0" indent="0">
              <a:buNone/>
              <a:defRPr sz="2400" b="0">
                <a:latin typeface="Nunito Sans SemiBold" panose="00000700000000000000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Left">
            <a:extLst>
              <a:ext uri="{FF2B5EF4-FFF2-40B4-BE49-F238E27FC236}">
                <a16:creationId xmlns:a16="http://schemas.microsoft.com/office/drawing/2014/main" id="{BA269D94-86E2-4284-82FC-C1B7064215A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5799" y="2131407"/>
            <a:ext cx="5330952" cy="39122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Right">
            <a:extLst>
              <a:ext uri="{FF2B5EF4-FFF2-40B4-BE49-F238E27FC236}">
                <a16:creationId xmlns:a16="http://schemas.microsoft.com/office/drawing/2014/main" id="{2A43FD98-1733-4777-A90A-ABAC0ABD08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49772" y="1600200"/>
            <a:ext cx="5330952" cy="457200"/>
          </a:xfrm>
        </p:spPr>
        <p:txBody>
          <a:bodyPr anchor="b"/>
          <a:lstStyle>
            <a:lvl1pPr marL="0" indent="0">
              <a:buNone/>
              <a:defRPr sz="2400" b="0">
                <a:latin typeface="Nunito Sans SemiBold" panose="00000700000000000000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Right">
            <a:extLst>
              <a:ext uri="{FF2B5EF4-FFF2-40B4-BE49-F238E27FC236}">
                <a16:creationId xmlns:a16="http://schemas.microsoft.com/office/drawing/2014/main" id="{E03CD6EA-32BC-4540-BB63-4E349C280B0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49772" y="2131407"/>
            <a:ext cx="5330952" cy="39122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F002EF8B-A5D3-47D9-8126-C962313BC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62A85A42-7683-4766-BFAB-3EBA707BB2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Logo protection area" hidden="1">
            <a:extLst>
              <a:ext uri="{FF2B5EF4-FFF2-40B4-BE49-F238E27FC236}">
                <a16:creationId xmlns:a16="http://schemas.microsoft.com/office/drawing/2014/main" id="{8F41116E-C26A-4603-A421-DC1E1C5DE081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6186276"/>
            <a:ext cx="12192000" cy="67172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12" name="Layout Protection area" hidden="1">
            <a:extLst>
              <a:ext uri="{FF2B5EF4-FFF2-40B4-BE49-F238E27FC236}">
                <a16:creationId xmlns:a16="http://schemas.microsoft.com/office/drawing/2014/main" id="{679E494E-10EA-4EB6-9E1C-9D9ACB931BA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664420" y="1572242"/>
            <a:ext cx="10841780" cy="4499637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648FB7E-A69A-4025-9B4A-BCE0691846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90E8F-9C5F-4855-8092-5F63805805A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05664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">
            <a:extLst>
              <a:ext uri="{FF2B5EF4-FFF2-40B4-BE49-F238E27FC236}">
                <a16:creationId xmlns:a16="http://schemas.microsoft.com/office/drawing/2014/main" id="{0EFCD107-6A18-8840-A09F-1124596FCC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3822853" cy="61769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7838340A-32CC-9F44-9F2D-60B3B3C3A638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95308" y="567799"/>
            <a:ext cx="2605392" cy="4948098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00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465858-F858-7244-80D8-C8C8C6C871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9396FD-A8D2-5548-97AD-44EE9AACF15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Roboto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unito Sans Light"/>
              <a:ea typeface="Roboto" panose="02000000000000000000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9A9D20-B7D2-0A40-A263-FD2D0E2A77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47990" y="567798"/>
            <a:ext cx="7133693" cy="4948099"/>
          </a:xfr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b="0" i="0">
                <a:latin typeface="Nunito Sans Light" pitchFamily="2" charset="77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Logo protection area" hidden="1">
            <a:extLst>
              <a:ext uri="{FF2B5EF4-FFF2-40B4-BE49-F238E27FC236}">
                <a16:creationId xmlns:a16="http://schemas.microsoft.com/office/drawing/2014/main" id="{22EA314C-C62B-4579-A6F8-514A5A6A51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6186276"/>
            <a:ext cx="12192000" cy="67172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9" name="Layout Protection area" hidden="1">
            <a:extLst>
              <a:ext uri="{FF2B5EF4-FFF2-40B4-BE49-F238E27FC236}">
                <a16:creationId xmlns:a16="http://schemas.microsoft.com/office/drawing/2014/main" id="{2EC2D2DD-790A-489D-8698-E9DA9ADCBB7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822852" y="0"/>
            <a:ext cx="8369148" cy="607187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70822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Bo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FCD107-6A18-8840-A09F-1124596FCC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382285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7838340A-32CC-9F44-9F2D-60B3B3C3A638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95308" y="567799"/>
            <a:ext cx="2605392" cy="4948098"/>
          </a:xfrm>
        </p:spPr>
        <p:txBody>
          <a:bodyPr lIns="0" tIns="0" rIns="0" bIns="0" anchor="ctr" anchorCtr="0">
            <a:normAutofit/>
          </a:bodyPr>
          <a:lstStyle>
            <a:lvl1pPr>
              <a:lnSpc>
                <a:spcPct val="1100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">
            <a:extLst>
              <a:ext uri="{FF2B5EF4-FFF2-40B4-BE49-F238E27FC236}">
                <a16:creationId xmlns:a16="http://schemas.microsoft.com/office/drawing/2014/main" id="{0F9A9D20-B7D2-0A40-A263-FD2D0E2A77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47990" y="567798"/>
            <a:ext cx="7133693" cy="4948099"/>
          </a:xfr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b="0" i="0">
                <a:latin typeface="Nunito Sans Light" pitchFamily="2" charset="77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Layout Protection area" hidden="1">
            <a:extLst>
              <a:ext uri="{FF2B5EF4-FFF2-40B4-BE49-F238E27FC236}">
                <a16:creationId xmlns:a16="http://schemas.microsoft.com/office/drawing/2014/main" id="{DD611D7A-8FA4-4195-9CBB-6EB6D27BA4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822852" y="0"/>
            <a:ext cx="8369148" cy="6858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465858-F858-7244-80D8-C8C8C6C871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9396FD-A8D2-5548-97AD-44EE9AACF15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Roboto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unito Sans Light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99146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y/Advocacy Head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38340A-32CC-9F44-9F2D-60B3B3C3A6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3416" y="4792607"/>
            <a:ext cx="2614998" cy="1165278"/>
          </a:xfrm>
        </p:spPr>
        <p:txBody>
          <a:bodyPr lIns="0" tIns="0" rIns="0" bIns="0" anchor="t" anchorCtr="0">
            <a:normAutofit/>
          </a:bodyPr>
          <a:lstStyle>
            <a:lvl1pPr>
              <a:lnSpc>
                <a:spcPct val="110000"/>
              </a:lnSpc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1AC5BB0-2CB0-1443-8819-9DEA236FB8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822853" y="0"/>
            <a:ext cx="8369147" cy="61225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Nunito Sans Light" pitchFamily="2" charset="77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9A9D20-B7D2-0A40-A263-FD2D0E2A77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47990" y="567798"/>
            <a:ext cx="7133693" cy="4948099"/>
          </a:xfr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b="0" i="0">
                <a:latin typeface="+mn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299831D-F0F0-F84A-BEE6-DA5C76488D7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43276" y="2309813"/>
            <a:ext cx="2199315" cy="2289175"/>
          </a:xfrm>
        </p:spPr>
        <p:txBody>
          <a:bodyPr/>
          <a:lstStyle/>
          <a:p>
            <a:r>
              <a:rPr lang="en-US" dirty="0"/>
              <a:t>Headshot </a:t>
            </a:r>
            <a:br>
              <a:rPr lang="en-US" dirty="0"/>
            </a:br>
            <a:r>
              <a:rPr lang="en-US" dirty="0"/>
              <a:t>Logo only option available in master slid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AD44F5C-15F9-6F46-A9A6-3A6ADE24207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53415" y="655638"/>
            <a:ext cx="2289175" cy="1106487"/>
          </a:xfrm>
        </p:spPr>
        <p:txBody>
          <a:bodyPr/>
          <a:lstStyle/>
          <a:p>
            <a:r>
              <a:rPr lang="en-US" dirty="0"/>
              <a:t>Institution Logo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40698F1-5566-8F43-9E54-71C592258B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53416" y="2309813"/>
            <a:ext cx="89860" cy="228917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465858-F858-7244-80D8-C8C8C6C871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9396FD-A8D2-5548-97AD-44EE9AACF15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07902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y/Advocacy 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D1AC5BB0-2CB0-1443-8819-9DEA236FB8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822853" y="0"/>
            <a:ext cx="8369147" cy="61490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Nunito Sans Light" pitchFamily="2" charset="77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9A9D20-B7D2-0A40-A263-FD2D0E2A77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47990" y="567798"/>
            <a:ext cx="7133693" cy="4948099"/>
          </a:xfr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b="0" i="0">
                <a:latin typeface="+mn-lt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AD44F5C-15F9-6F46-A9A6-3A6ADE24207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225" y="2336969"/>
            <a:ext cx="2916596" cy="1409755"/>
          </a:xfrm>
        </p:spPr>
        <p:txBody>
          <a:bodyPr/>
          <a:lstStyle/>
          <a:p>
            <a:r>
              <a:rPr lang="en-US" dirty="0"/>
              <a:t>Institution Log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465858-F858-7244-80D8-C8C8C6C871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9396FD-A8D2-5548-97AD-44EE9AACF15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65905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1AD9A2-4B28-402F-83D1-5E02AFBB8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Logo protection area" hidden="1">
            <a:extLst>
              <a:ext uri="{FF2B5EF4-FFF2-40B4-BE49-F238E27FC236}">
                <a16:creationId xmlns:a16="http://schemas.microsoft.com/office/drawing/2014/main" id="{FB99A54E-C6B2-4241-929C-D09F70882EA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6186276"/>
            <a:ext cx="12192000" cy="67172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6" name="Layout Protection area" hidden="1">
            <a:extLst>
              <a:ext uri="{FF2B5EF4-FFF2-40B4-BE49-F238E27FC236}">
                <a16:creationId xmlns:a16="http://schemas.microsoft.com/office/drawing/2014/main" id="{677B9344-2687-4991-B810-FB28E3B488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1572242"/>
            <a:ext cx="12176098" cy="451937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B76B8E-1A27-3048-9606-442ADC84E4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9396FD-A8D2-5548-97AD-44EE9AACF15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Roboto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unito Sans Light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87465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D50117-E1F4-4D7A-8CDB-CE5CC1B660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Layout Protection area" hidden="1">
            <a:extLst>
              <a:ext uri="{FF2B5EF4-FFF2-40B4-BE49-F238E27FC236}">
                <a16:creationId xmlns:a16="http://schemas.microsoft.com/office/drawing/2014/main" id="{8242F7E1-D0FF-42D3-BA5D-FD592BC2A432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1572242"/>
            <a:ext cx="12176098" cy="528575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B76B8E-1A27-3048-9606-442ADC84E4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9396FD-A8D2-5548-97AD-44EE9AACF15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Roboto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unito Sans Light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69020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FC6F668-08C4-4EB5-A77F-04D48755F7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7F34DC91-6E79-4C29-AF99-77F4585855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5" name="Logo protection area" hidden="1">
            <a:extLst>
              <a:ext uri="{FF2B5EF4-FFF2-40B4-BE49-F238E27FC236}">
                <a16:creationId xmlns:a16="http://schemas.microsoft.com/office/drawing/2014/main" id="{F480B885-9EF9-48C0-A344-E32EC2F6FD1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6186276"/>
            <a:ext cx="12192000" cy="67172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6" name="Layout Protection area" hidden="1">
            <a:extLst>
              <a:ext uri="{FF2B5EF4-FFF2-40B4-BE49-F238E27FC236}">
                <a16:creationId xmlns:a16="http://schemas.microsoft.com/office/drawing/2014/main" id="{BC2C30C9-9B51-45A8-B625-FD2CB4E8400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76098" cy="6186276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895876-C1DF-48AF-8D14-B683B1B9BC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D34398-B1E2-43C1-9165-889316B49F6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Roboto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unito Sans Light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75215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D887608E-88C4-C84F-A823-00FBF2D640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C1F34A88-E870-4542-8E40-0AB050539B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5" name="Layout Protection area" hidden="1">
            <a:extLst>
              <a:ext uri="{FF2B5EF4-FFF2-40B4-BE49-F238E27FC236}">
                <a16:creationId xmlns:a16="http://schemas.microsoft.com/office/drawing/2014/main" id="{52780D13-14EF-4CB3-A8FD-8A0448CFB53B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176098" cy="6858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2DA6D7-3213-8747-BBAC-FA39EEBE90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9396FD-A8D2-5548-97AD-44EE9AACF15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Roboto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unito Sans Light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323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rese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8F289818-772D-A140-AA34-CF35FE3184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71123" y="3943911"/>
            <a:ext cx="4279900" cy="457200"/>
          </a:xfrm>
        </p:spPr>
        <p:txBody>
          <a:bodyPr anchor="b" anchorCtr="0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800" b="0" i="0" spc="0">
                <a:latin typeface="+mj-lt"/>
                <a:ea typeface="Roboto Medium" panose="02000000000000000000" pitchFamily="2" charset="0"/>
                <a:cs typeface="Roboto Medium" panose="02000000000000000000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B4C7420B-45DC-474D-99FE-866DCAFF65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71123" y="4514944"/>
            <a:ext cx="4279900" cy="1236953"/>
          </a:xfrm>
        </p:spPr>
        <p:txBody>
          <a:bodyPr anchor="t" anchorCtr="0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800" b="0" i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3AA5EC31-34A8-3748-B3E4-4300537A07E0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540979" y="3943911"/>
            <a:ext cx="4279900" cy="457200"/>
          </a:xfrm>
        </p:spPr>
        <p:txBody>
          <a:bodyPr anchor="b" anchorCtr="0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800" b="0" i="0" spc="0">
                <a:latin typeface="+mj-lt"/>
                <a:ea typeface="Roboto Medium" panose="02000000000000000000" pitchFamily="2" charset="0"/>
                <a:cs typeface="Roboto Medium" panose="02000000000000000000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441D54F8-3EB7-0144-AC0F-D055EE95342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40979" y="4514944"/>
            <a:ext cx="4279900" cy="1236953"/>
          </a:xfrm>
        </p:spPr>
        <p:txBody>
          <a:bodyPr anchor="t" anchorCtr="0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800" b="0" i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3AD3F1B-6514-1946-9D1A-5523E60EB6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198309" y="1225254"/>
            <a:ext cx="2602319" cy="25146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Nunito Sans Light" pitchFamily="2" charset="77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7245169-8F76-8C4A-BCB7-A88BE50181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288846" y="1225254"/>
            <a:ext cx="2511783" cy="25146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0" i="0" dirty="0">
                <a:latin typeface="Nunito Sans Light" pitchFamily="2" charset="77"/>
              </a:rPr>
              <a:t> 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8DBF907-AC21-9141-8503-A925D9043E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2896421" y="2297888"/>
            <a:ext cx="12966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0" i="0" dirty="0">
                <a:latin typeface="Nunito Sans Light" pitchFamily="2" charset="77"/>
                <a:ea typeface="Roboto Medium" panose="02000000000000000000" pitchFamily="2" charset="0"/>
                <a:cs typeface="Roboto Medium" panose="02000000000000000000" pitchFamily="2" charset="0"/>
              </a:rPr>
              <a:t>Headsho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EC7E80B-BEA4-402F-83AA-50D9834C817E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77AA6E6C-BB3E-E94D-B480-811E6A5390FE}" type="datetime1">
              <a:rPr lang="en-US" smtClean="0"/>
              <a:pPr/>
              <a:t>4/20/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5FAC813-B34C-46E5-BA68-FE76BFC664A6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4C3EF2A-4814-884A-821F-9CD9CB466C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391371" y="1225254"/>
            <a:ext cx="2602319" cy="25146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Nunito Sans Light" pitchFamily="2" charset="77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55DCD1A-6A68-9E48-8432-6A2BDC0F90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481908" y="1225254"/>
            <a:ext cx="2511783" cy="25146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0" i="0" dirty="0">
                <a:latin typeface="Nunito Sans Light" pitchFamily="2" charset="77"/>
              </a:rPr>
              <a:t> 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642F52C-115E-6D42-811C-652E9C07DC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8168967" y="2280653"/>
            <a:ext cx="12966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0" i="0" dirty="0">
                <a:latin typeface="Nunito Sans Light" pitchFamily="2" charset="77"/>
                <a:ea typeface="Roboto Medium" panose="02000000000000000000" pitchFamily="2" charset="0"/>
                <a:cs typeface="Roboto Medium" panose="02000000000000000000" pitchFamily="2" charset="0"/>
              </a:rPr>
              <a:t>Headshot</a:t>
            </a:r>
          </a:p>
        </p:txBody>
      </p:sp>
      <p:sp>
        <p:nvSpPr>
          <p:cNvPr id="36" name="Picture Placeholder 5">
            <a:extLst>
              <a:ext uri="{FF2B5EF4-FFF2-40B4-BE49-F238E27FC236}">
                <a16:creationId xmlns:a16="http://schemas.microsoft.com/office/drawing/2014/main" id="{951E437E-C5AA-3740-8222-BE69F3897B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288879" y="1225254"/>
            <a:ext cx="2511750" cy="2514600"/>
          </a:xfrm>
        </p:spPr>
        <p:txBody>
          <a:bodyPr tIns="274320"/>
          <a:lstStyle>
            <a:lvl1pPr algn="ctr">
              <a:buNone/>
              <a:defRPr b="0" i="0"/>
            </a:lvl1pPr>
          </a:lstStyle>
          <a:p>
            <a:r>
              <a:rPr lang="en-US" dirty="0"/>
              <a:t>Click icon to insert image</a:t>
            </a:r>
          </a:p>
        </p:txBody>
      </p:sp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D0CABE6B-EBE8-C347-8801-2B97D62341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7481941" y="1225254"/>
            <a:ext cx="2511750" cy="2514600"/>
          </a:xfrm>
        </p:spPr>
        <p:txBody>
          <a:bodyPr tIns="274320"/>
          <a:lstStyle>
            <a:lvl1pPr algn="ctr">
              <a:buNone/>
              <a:defRPr b="0" i="0"/>
            </a:lvl1pPr>
          </a:lstStyle>
          <a:p>
            <a:r>
              <a:rPr lang="en-US" dirty="0"/>
              <a:t>Click icon to insert im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380CA8-A72A-4D2A-9CC8-3A5723A3AB1D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7F9396FD-A8D2-5548-97AD-44EE9AACF1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8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er Ex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CC00CBA7-7708-194C-8D9F-AA76B37506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85800" y="0"/>
            <a:ext cx="430078" cy="86369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C88C381-31D1-9E47-92BE-50539DD71C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85800" y="1600199"/>
            <a:ext cx="430078" cy="525780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336A4FE-11E5-E94D-9D99-82A470076E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688336"/>
            <a:ext cx="10789920" cy="683264"/>
          </a:xfrm>
          <a:solidFill>
            <a:schemeClr val="bg1"/>
          </a:solidFill>
        </p:spPr>
        <p:txBody>
          <a:bodyPr tIns="18288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FE2BE53-EFCE-6645-8D92-1BCAFB43A0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5800" y="1600199"/>
            <a:ext cx="4444139" cy="1883080"/>
          </a:xfrm>
          <a:solidFill>
            <a:schemeClr val="bg1"/>
          </a:solidFill>
        </p:spPr>
        <p:txBody>
          <a:bodyPr wrap="square" bIns="274320">
            <a:spAutoFit/>
          </a:bodyPr>
          <a:lstStyle>
            <a:lvl1pPr marL="228600" indent="-228600">
              <a:lnSpc>
                <a:spcPct val="110000"/>
              </a:lnSpc>
              <a:buClr>
                <a:schemeClr val="accent4"/>
              </a:buClr>
              <a:buSzPct val="120000"/>
              <a:buFont typeface="Arial" panose="020B0604020202020204" pitchFamily="34" charset="0"/>
              <a:buChar char="•"/>
              <a:defRPr b="0" i="0">
                <a:latin typeface="Nunito Sans Light" pitchFamily="2" charset="77"/>
              </a:defRPr>
            </a:lvl1pPr>
            <a:lvl2pPr marL="685800" indent="-228600">
              <a:lnSpc>
                <a:spcPct val="110000"/>
              </a:lnSpc>
              <a:buSzPct val="120000"/>
              <a:buFont typeface="Arial" panose="020B0604020202020204" pitchFamily="34" charset="0"/>
              <a:buChar char="•"/>
              <a:defRPr b="0" i="0">
                <a:latin typeface="Nunito Sans Light" pitchFamily="2" charset="77"/>
              </a:defRPr>
            </a:lvl2pPr>
            <a:lvl3pPr marL="1143000" indent="-228600">
              <a:lnSpc>
                <a:spcPct val="110000"/>
              </a:lnSpc>
              <a:buSzPct val="120000"/>
              <a:buFont typeface="Arial" panose="020B0604020202020204" pitchFamily="34" charset="0"/>
              <a:buChar char="•"/>
              <a:defRPr b="0" i="0">
                <a:latin typeface="Nunito Sans Light" pitchFamily="2" charset="77"/>
              </a:defRPr>
            </a:lvl3pPr>
            <a:lvl4pPr marL="1600200" indent="-228600">
              <a:lnSpc>
                <a:spcPct val="110000"/>
              </a:lnSpc>
              <a:buSzPct val="120000"/>
              <a:buFont typeface="Arial" panose="020B0604020202020204" pitchFamily="34" charset="0"/>
              <a:buChar char="•"/>
              <a:defRPr b="0" i="0">
                <a:latin typeface="Nunito Sans Light" pitchFamily="2" charset="77"/>
              </a:defRPr>
            </a:lvl4pPr>
            <a:lvl5pPr marL="2057400" indent="-228600">
              <a:lnSpc>
                <a:spcPct val="110000"/>
              </a:lnSpc>
              <a:buSzPct val="120000"/>
              <a:buFont typeface="Arial" panose="020B0604020202020204" pitchFamily="34" charset="0"/>
              <a:buChar char="•"/>
              <a:defRPr b="0" i="0">
                <a:latin typeface="Nunito Sa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FDC525D-41DA-7B4A-9AF6-97F22A6DF87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40363" y="1600199"/>
            <a:ext cx="6057900" cy="470693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Layout Protection area" hidden="1">
            <a:extLst>
              <a:ext uri="{FF2B5EF4-FFF2-40B4-BE49-F238E27FC236}">
                <a16:creationId xmlns:a16="http://schemas.microsoft.com/office/drawing/2014/main" id="{EFC6663A-EFF2-4B7C-80F9-58DCAA5B4391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1572242"/>
            <a:ext cx="12176098" cy="529507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F467DCF8-6FDB-48D8-95D4-458A796382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BCFA018C-D31F-43C8-98D5-A0F6878355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CA3830C-373E-42C5-A8DF-E9DFEF7E76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9396FD-A8D2-5548-97AD-44EE9AACF15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Roboto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unito Sans Light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43497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necting The Camp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EFCD107-6A18-8840-A09F-1124596FCC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5036695" cy="61769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7838340A-32CC-9F44-9F2D-60B3B3C3A638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85800" y="291162"/>
            <a:ext cx="3960812" cy="1080438"/>
          </a:xfrm>
        </p:spPr>
        <p:txBody>
          <a:bodyPr lIns="0" tIns="0" rIns="0" bIns="0" anchor="b" anchorCtr="0">
            <a:normAutofit/>
          </a:bodyPr>
          <a:lstStyle>
            <a:lvl1pPr>
              <a:lnSpc>
                <a:spcPct val="1100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>
            <a:extLst>
              <a:ext uri="{FF2B5EF4-FFF2-40B4-BE49-F238E27FC236}">
                <a16:creationId xmlns:a16="http://schemas.microsoft.com/office/drawing/2014/main" id="{DCF7BBF5-9006-FA44-99B8-C1E1E6A787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5800" y="1600200"/>
            <a:ext cx="3960813" cy="4443412"/>
          </a:xfrm>
        </p:spPr>
        <p:txBody>
          <a:bodyPr/>
          <a:lstStyle>
            <a:lvl1pPr marL="0" indent="0">
              <a:buFont typeface="Nunito Sans Light" panose="00000400000000000000" pitchFamily="2" charset="0"/>
              <a:buChar char="​"/>
              <a:defRPr sz="1600" b="0" i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B488B64-5325-F54E-84D2-89AD3FC686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029200" y="0"/>
            <a:ext cx="7162800" cy="61769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pic>
        <p:nvPicPr>
          <p:cNvPr id="10" name="Picture 9" descr="Isometric illustration of college campus.">
            <a:extLst>
              <a:ext uri="{FF2B5EF4-FFF2-40B4-BE49-F238E27FC236}">
                <a16:creationId xmlns:a16="http://schemas.microsoft.com/office/drawing/2014/main" id="{DC875160-91A0-1449-8D14-4D088F431DB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/>
          </a:blip>
          <a:srcRect/>
          <a:stretch/>
        </p:blipFill>
        <p:spPr>
          <a:xfrm>
            <a:off x="5666227" y="947449"/>
            <a:ext cx="5896240" cy="4442216"/>
          </a:xfrm>
          <a:prstGeom prst="rect">
            <a:avLst/>
          </a:prstGeom>
        </p:spPr>
      </p:pic>
      <p:sp>
        <p:nvSpPr>
          <p:cNvPr id="8" name="Logo protection area" hidden="1">
            <a:extLst>
              <a:ext uri="{FF2B5EF4-FFF2-40B4-BE49-F238E27FC236}">
                <a16:creationId xmlns:a16="http://schemas.microsoft.com/office/drawing/2014/main" id="{62CDB50F-8A6B-46D1-8192-5A65D620990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6186276"/>
            <a:ext cx="12192000" cy="67172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11" name="Layout Protection area" hidden="1">
            <a:extLst>
              <a:ext uri="{FF2B5EF4-FFF2-40B4-BE49-F238E27FC236}">
                <a16:creationId xmlns:a16="http://schemas.microsoft.com/office/drawing/2014/main" id="{0BBDDDEC-0106-40D3-BF78-55CC9F4706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1539350"/>
            <a:ext cx="5029200" cy="4646926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12" name="Date Placeholder 11" hidden="1">
            <a:extLst>
              <a:ext uri="{FF2B5EF4-FFF2-40B4-BE49-F238E27FC236}">
                <a16:creationId xmlns:a16="http://schemas.microsoft.com/office/drawing/2014/main" id="{FC34303C-00B6-429F-AB79-5265D8FD933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CC93C06F-2F03-4666-A45A-FA46B643A2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B16C270-97D2-48DB-813F-5EA817A48C0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9396FD-A8D2-5548-97AD-44EE9AACF15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Roboto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unito Sans Light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69477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Woman standing while working on laptop outside of server room. ">
            <a:extLst>
              <a:ext uri="{FF2B5EF4-FFF2-40B4-BE49-F238E27FC236}">
                <a16:creationId xmlns:a16="http://schemas.microsoft.com/office/drawing/2014/main" id="{7506426D-0C75-894C-BC18-E006FB6EBF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0"/>
            <a:ext cx="12191998" cy="617696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A7E2D71-BF5E-4741-B928-75598F37E2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6176963"/>
          </a:xfrm>
          <a:prstGeom prst="rect">
            <a:avLst/>
          </a:prstGeom>
          <a:solidFill>
            <a:schemeClr val="tx1">
              <a:alpha val="4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14" name="Quote text">
            <a:extLst>
              <a:ext uri="{FF2B5EF4-FFF2-40B4-BE49-F238E27FC236}">
                <a16:creationId xmlns:a16="http://schemas.microsoft.com/office/drawing/2014/main" id="{280E5D38-780E-464E-8EFD-EBFAC9B60D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59265" y="1989738"/>
            <a:ext cx="8319787" cy="2135456"/>
          </a:xfrm>
          <a:prstGeom prst="callout1">
            <a:avLst>
              <a:gd name="adj1" fmla="val -83"/>
              <a:gd name="adj2" fmla="val -2263"/>
              <a:gd name="adj3" fmla="val 99909"/>
              <a:gd name="adj4" fmla="val -2209"/>
            </a:avLst>
          </a:prstGeom>
          <a:ln w="110490">
            <a:solidFill>
              <a:schemeClr val="accent4"/>
            </a:solidFill>
          </a:ln>
        </p:spPr>
        <p:txBody>
          <a:bodyPr>
            <a:spAutoFit/>
          </a:bodyPr>
          <a:lstStyle>
            <a:lvl1pPr marL="0" indent="0">
              <a:buFont typeface="Nunito Sans Light" panose="00000400000000000000" pitchFamily="2" charset="0"/>
              <a:buChar char="​"/>
              <a:defRPr sz="2800">
                <a:solidFill>
                  <a:schemeClr val="bg1"/>
                </a:solidFill>
              </a:defRPr>
            </a:lvl1pPr>
            <a:lvl2pPr marL="0" indent="0">
              <a:buFont typeface="Nunito Sans Light" panose="00000400000000000000" pitchFamily="2" charset="0"/>
              <a:buChar char="​"/>
              <a:defRPr sz="2400">
                <a:solidFill>
                  <a:schemeClr val="bg1"/>
                </a:solidFill>
              </a:defRPr>
            </a:lvl2pPr>
            <a:lvl3pPr marL="234950" indent="-234950">
              <a:defRPr sz="2000">
                <a:solidFill>
                  <a:schemeClr val="bg1"/>
                </a:solidFill>
              </a:defRPr>
            </a:lvl3pPr>
            <a:lvl4pPr marL="234950" indent="-234950">
              <a:defRPr sz="2000">
                <a:solidFill>
                  <a:schemeClr val="bg1"/>
                </a:solidFill>
              </a:defRPr>
            </a:lvl4pPr>
            <a:lvl5pPr marL="234950" indent="-234950"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quote, move quote marks as neede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Media Placeholder 16">
            <a:extLst>
              <a:ext uri="{FF2B5EF4-FFF2-40B4-BE49-F238E27FC236}">
                <a16:creationId xmlns:a16="http://schemas.microsoft.com/office/drawing/2014/main" id="{42B065FB-F7CE-4AD1-A9DD-DA608947C7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2621132" y="1356617"/>
            <a:ext cx="777875" cy="540181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noFill/>
              </a:defRPr>
            </a:lvl1pPr>
          </a:lstStyle>
          <a:p>
            <a:r>
              <a:rPr lang="en-US" dirty="0"/>
              <a:t>.</a:t>
            </a:r>
          </a:p>
        </p:txBody>
      </p:sp>
      <p:sp>
        <p:nvSpPr>
          <p:cNvPr id="18" name="Media Placeholder 16">
            <a:extLst>
              <a:ext uri="{FF2B5EF4-FFF2-40B4-BE49-F238E27FC236}">
                <a16:creationId xmlns:a16="http://schemas.microsoft.com/office/drawing/2014/main" id="{1B212547-CF72-40BB-ABEB-9A2360868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media" sz="quarter" idx="15" hasCustomPrompt="1"/>
          </p:nvPr>
        </p:nvSpPr>
        <p:spPr>
          <a:xfrm rot="10800000">
            <a:off x="2560094" y="4247867"/>
            <a:ext cx="777875" cy="540181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noFill/>
              </a:defRPr>
            </a:lvl1pPr>
          </a:lstStyle>
          <a:p>
            <a:r>
              <a:rPr lang="en-US" dirty="0"/>
              <a:t>.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D887608E-88C4-C84F-A823-00FBF2D640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C1F34A88-E870-4542-8E40-0AB050539B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12" name="Logo protection area" hidden="1">
            <a:extLst>
              <a:ext uri="{FF2B5EF4-FFF2-40B4-BE49-F238E27FC236}">
                <a16:creationId xmlns:a16="http://schemas.microsoft.com/office/drawing/2014/main" id="{09B605C6-55B1-477D-9C2D-6F1686EC95D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6186276"/>
            <a:ext cx="12192000" cy="67172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13" name="Layout Protection area" hidden="1">
            <a:extLst>
              <a:ext uri="{FF2B5EF4-FFF2-40B4-BE49-F238E27FC236}">
                <a16:creationId xmlns:a16="http://schemas.microsoft.com/office/drawing/2014/main" id="{2341C043-7F0A-44E9-93B9-B5ACB9F955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76098" cy="6858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2DA6D7-3213-8747-BBAC-FA39EEBE90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9396FD-A8D2-5548-97AD-44EE9AACF15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unito Sans Light"/>
                <a:ea typeface="Roboto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86341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Hands on a smartphone with laptop in background.">
            <a:extLst>
              <a:ext uri="{FF2B5EF4-FFF2-40B4-BE49-F238E27FC236}">
                <a16:creationId xmlns:a16="http://schemas.microsoft.com/office/drawing/2014/main" id="{7506426D-0C75-894C-BC18-E006FB6EBFD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2" y="-2"/>
            <a:ext cx="12192001" cy="617696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A7E2D71-BF5E-4741-B928-75598F37E2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15903" y="0"/>
            <a:ext cx="12207902" cy="6235136"/>
          </a:xfrm>
          <a:prstGeom prst="rect">
            <a:avLst/>
          </a:prstGeom>
          <a:solidFill>
            <a:schemeClr val="tx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14" name="Quote text">
            <a:extLst>
              <a:ext uri="{FF2B5EF4-FFF2-40B4-BE49-F238E27FC236}">
                <a16:creationId xmlns:a16="http://schemas.microsoft.com/office/drawing/2014/main" id="{280E5D38-780E-464E-8EFD-EBFAC9B60D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59265" y="1989738"/>
            <a:ext cx="8319787" cy="2135456"/>
          </a:xfrm>
          <a:prstGeom prst="callout1">
            <a:avLst>
              <a:gd name="adj1" fmla="val -83"/>
              <a:gd name="adj2" fmla="val -2263"/>
              <a:gd name="adj3" fmla="val 99909"/>
              <a:gd name="adj4" fmla="val -2209"/>
            </a:avLst>
          </a:prstGeom>
          <a:ln w="110490">
            <a:solidFill>
              <a:schemeClr val="accent4"/>
            </a:solidFill>
          </a:ln>
        </p:spPr>
        <p:txBody>
          <a:bodyPr>
            <a:spAutoFit/>
          </a:bodyPr>
          <a:lstStyle>
            <a:lvl1pPr marL="0" indent="0">
              <a:buFont typeface="Nunito Sans Light" panose="00000400000000000000" pitchFamily="2" charset="0"/>
              <a:buChar char="​"/>
              <a:defRPr sz="2800">
                <a:solidFill>
                  <a:schemeClr val="bg1"/>
                </a:solidFill>
              </a:defRPr>
            </a:lvl1pPr>
            <a:lvl2pPr marL="0" indent="0">
              <a:buFont typeface="Nunito Sans Light" panose="00000400000000000000" pitchFamily="2" charset="0"/>
              <a:buChar char="​"/>
              <a:defRPr sz="2400">
                <a:solidFill>
                  <a:schemeClr val="bg1"/>
                </a:solidFill>
              </a:defRPr>
            </a:lvl2pPr>
            <a:lvl3pPr marL="234950" indent="-234950">
              <a:defRPr sz="2000">
                <a:solidFill>
                  <a:schemeClr val="bg1"/>
                </a:solidFill>
              </a:defRPr>
            </a:lvl3pPr>
            <a:lvl4pPr marL="234950" indent="-234950">
              <a:defRPr sz="2000">
                <a:solidFill>
                  <a:schemeClr val="bg1"/>
                </a:solidFill>
              </a:defRPr>
            </a:lvl4pPr>
            <a:lvl5pPr marL="234950" indent="-234950"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quote, move quote marks as neede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Media Placeholder 16">
            <a:extLst>
              <a:ext uri="{FF2B5EF4-FFF2-40B4-BE49-F238E27FC236}">
                <a16:creationId xmlns:a16="http://schemas.microsoft.com/office/drawing/2014/main" id="{42B065FB-F7CE-4AD1-A9DD-DA608947C7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2621132" y="1356617"/>
            <a:ext cx="777875" cy="540181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noFill/>
              </a:defRPr>
            </a:lvl1pPr>
          </a:lstStyle>
          <a:p>
            <a:r>
              <a:rPr lang="en-US" dirty="0"/>
              <a:t>.</a:t>
            </a:r>
          </a:p>
        </p:txBody>
      </p:sp>
      <p:sp>
        <p:nvSpPr>
          <p:cNvPr id="18" name="Media Placeholder 16">
            <a:extLst>
              <a:ext uri="{FF2B5EF4-FFF2-40B4-BE49-F238E27FC236}">
                <a16:creationId xmlns:a16="http://schemas.microsoft.com/office/drawing/2014/main" id="{1B212547-CF72-40BB-ABEB-9A2360868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media" sz="quarter" idx="15" hasCustomPrompt="1"/>
          </p:nvPr>
        </p:nvSpPr>
        <p:spPr>
          <a:xfrm rot="10800000">
            <a:off x="2560094" y="4247867"/>
            <a:ext cx="777875" cy="540181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noFill/>
              </a:defRPr>
            </a:lvl1pPr>
          </a:lstStyle>
          <a:p>
            <a:r>
              <a:rPr lang="en-US" dirty="0"/>
              <a:t>.</a:t>
            </a:r>
          </a:p>
        </p:txBody>
      </p:sp>
      <p:sp>
        <p:nvSpPr>
          <p:cNvPr id="12" name="Logo protection area" hidden="1">
            <a:extLst>
              <a:ext uri="{FF2B5EF4-FFF2-40B4-BE49-F238E27FC236}">
                <a16:creationId xmlns:a16="http://schemas.microsoft.com/office/drawing/2014/main" id="{09B605C6-55B1-477D-9C2D-6F1686EC95D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6186276"/>
            <a:ext cx="12192000" cy="67172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13" name="Layout Protection area" hidden="1">
            <a:extLst>
              <a:ext uri="{FF2B5EF4-FFF2-40B4-BE49-F238E27FC236}">
                <a16:creationId xmlns:a16="http://schemas.microsoft.com/office/drawing/2014/main" id="{2341C043-7F0A-44E9-93B9-B5ACB9F955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76098" cy="6858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C1F34A88-E870-4542-8E40-0AB050539B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D887608E-88C4-C84F-A823-00FBF2D640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2DA6D7-3213-8747-BBAC-FA39EEBE90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9396FD-A8D2-5548-97AD-44EE9AACF15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unito Sans Light"/>
                <a:ea typeface="Roboto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42145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6CCBF73D-FEA8-584B-8F0B-8BC44B8BC8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61769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F34F73A-6E94-1744-901A-E7A2F15590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297" y="2881705"/>
            <a:ext cx="5847522" cy="4201758"/>
          </a:xfrm>
          <a:prstGeom prst="rect">
            <a:avLst/>
          </a:prstGeom>
        </p:spPr>
      </p:pic>
      <p:sp>
        <p:nvSpPr>
          <p:cNvPr id="14" name="Quote text">
            <a:extLst>
              <a:ext uri="{FF2B5EF4-FFF2-40B4-BE49-F238E27FC236}">
                <a16:creationId xmlns:a16="http://schemas.microsoft.com/office/drawing/2014/main" id="{280E5D38-780E-464E-8EFD-EBFAC9B60D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59265" y="1989738"/>
            <a:ext cx="8319787" cy="2135456"/>
          </a:xfrm>
          <a:prstGeom prst="callout1">
            <a:avLst>
              <a:gd name="adj1" fmla="val -83"/>
              <a:gd name="adj2" fmla="val -2263"/>
              <a:gd name="adj3" fmla="val 99909"/>
              <a:gd name="adj4" fmla="val -2209"/>
            </a:avLst>
          </a:prstGeom>
          <a:ln w="110490">
            <a:solidFill>
              <a:schemeClr val="accent4"/>
            </a:solidFill>
          </a:ln>
        </p:spPr>
        <p:txBody>
          <a:bodyPr>
            <a:spAutoFit/>
          </a:bodyPr>
          <a:lstStyle>
            <a:lvl1pPr marL="0" indent="0">
              <a:buFont typeface="Nunito Sans Light" panose="00000400000000000000" pitchFamily="2" charset="0"/>
              <a:buChar char="​"/>
              <a:defRPr sz="2800">
                <a:solidFill>
                  <a:schemeClr val="bg1"/>
                </a:solidFill>
              </a:defRPr>
            </a:lvl1pPr>
            <a:lvl2pPr marL="0" indent="0">
              <a:buFont typeface="Nunito Sans Light" panose="00000400000000000000" pitchFamily="2" charset="0"/>
              <a:buChar char="​"/>
              <a:defRPr sz="2400">
                <a:solidFill>
                  <a:schemeClr val="bg1"/>
                </a:solidFill>
              </a:defRPr>
            </a:lvl2pPr>
            <a:lvl3pPr marL="234950" indent="-234950">
              <a:defRPr sz="2000">
                <a:solidFill>
                  <a:schemeClr val="bg1"/>
                </a:solidFill>
              </a:defRPr>
            </a:lvl3pPr>
            <a:lvl4pPr marL="234950" indent="-234950">
              <a:defRPr sz="2000">
                <a:solidFill>
                  <a:schemeClr val="bg1"/>
                </a:solidFill>
              </a:defRPr>
            </a:lvl4pPr>
            <a:lvl5pPr marL="234950" indent="-234950"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quote, move quote marks as neede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Media Placeholder 16">
            <a:extLst>
              <a:ext uri="{FF2B5EF4-FFF2-40B4-BE49-F238E27FC236}">
                <a16:creationId xmlns:a16="http://schemas.microsoft.com/office/drawing/2014/main" id="{42B065FB-F7CE-4AD1-A9DD-DA608947C7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2621132" y="1356617"/>
            <a:ext cx="777875" cy="540181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noFill/>
              </a:defRPr>
            </a:lvl1pPr>
          </a:lstStyle>
          <a:p>
            <a:r>
              <a:rPr lang="en-US" dirty="0"/>
              <a:t>.</a:t>
            </a:r>
          </a:p>
        </p:txBody>
      </p:sp>
      <p:sp>
        <p:nvSpPr>
          <p:cNvPr id="18" name="Media Placeholder 16">
            <a:extLst>
              <a:ext uri="{FF2B5EF4-FFF2-40B4-BE49-F238E27FC236}">
                <a16:creationId xmlns:a16="http://schemas.microsoft.com/office/drawing/2014/main" id="{1B212547-CF72-40BB-ABEB-9A2360868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media" sz="quarter" idx="15" hasCustomPrompt="1"/>
          </p:nvPr>
        </p:nvSpPr>
        <p:spPr>
          <a:xfrm rot="10800000">
            <a:off x="2560320" y="4247867"/>
            <a:ext cx="777875" cy="540181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>
                <a:noFill/>
              </a:defRPr>
            </a:lvl1pPr>
          </a:lstStyle>
          <a:p>
            <a:r>
              <a:rPr lang="en-US" dirty="0"/>
              <a:t>.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D887608E-88C4-C84F-A823-00FBF2D640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C1F34A88-E870-4542-8E40-0AB050539B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12" name="Logo protection area" hidden="1">
            <a:extLst>
              <a:ext uri="{FF2B5EF4-FFF2-40B4-BE49-F238E27FC236}">
                <a16:creationId xmlns:a16="http://schemas.microsoft.com/office/drawing/2014/main" id="{09B605C6-55B1-477D-9C2D-6F1686EC95D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6186276"/>
            <a:ext cx="12192000" cy="67172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13" name="Layout Protection area" hidden="1">
            <a:extLst>
              <a:ext uri="{FF2B5EF4-FFF2-40B4-BE49-F238E27FC236}">
                <a16:creationId xmlns:a16="http://schemas.microsoft.com/office/drawing/2014/main" id="{2341C043-7F0A-44E9-93B9-B5ACB9F955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76098" cy="6858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2DA6D7-3213-8747-BBAC-FA39EEBE90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9396FD-A8D2-5548-97AD-44EE9AACF15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unito Sans Light"/>
                <a:ea typeface="Roboto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4816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274B6C4-0C0B-C54B-BC62-536B8F19F6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05" b="7767"/>
          <a:stretch/>
        </p:blipFill>
        <p:spPr>
          <a:xfrm>
            <a:off x="6596313" y="-1"/>
            <a:ext cx="4114800" cy="6178893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B225399C-1E6E-9E42-9E6D-B8CA253962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7666" y="1088571"/>
            <a:ext cx="10789920" cy="2125242"/>
          </a:xfrm>
        </p:spPr>
        <p:txBody>
          <a:bodyPr/>
          <a:lstStyle>
            <a:lvl1pPr algn="l">
              <a:defRPr sz="8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2" name="Name">
            <a:extLst>
              <a:ext uri="{FF2B5EF4-FFF2-40B4-BE49-F238E27FC236}">
                <a16:creationId xmlns:a16="http://schemas.microsoft.com/office/drawing/2014/main" id="{8F289818-772D-A140-AA34-CF35FE3184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367038" y="3830354"/>
            <a:ext cx="5649359" cy="457200"/>
          </a:xfrm>
        </p:spPr>
        <p:txBody>
          <a:bodyPr anchor="b" anchorCtr="0"/>
          <a:lstStyle>
            <a:lvl1pPr marL="0" indent="0" algn="l">
              <a:buClr>
                <a:schemeClr val="accent4"/>
              </a:buClr>
              <a:buFontTx/>
              <a:buNone/>
              <a:defRPr sz="2000" b="0" i="0" spc="0">
                <a:latin typeface="+mj-lt"/>
                <a:ea typeface="Roboto Medium" panose="02000000000000000000" pitchFamily="2" charset="0"/>
                <a:cs typeface="Roboto Medium" panose="02000000000000000000" pitchFamily="2" charset="0"/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33" name="Title">
            <a:extLst>
              <a:ext uri="{FF2B5EF4-FFF2-40B4-BE49-F238E27FC236}">
                <a16:creationId xmlns:a16="http://schemas.microsoft.com/office/drawing/2014/main" id="{B4C7420B-45DC-474D-99FE-866DCAFF654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367038" y="4395851"/>
            <a:ext cx="5649359" cy="1275011"/>
          </a:xfrm>
        </p:spPr>
        <p:txBody>
          <a:bodyPr anchor="t" anchorCtr="0"/>
          <a:lstStyle>
            <a:lvl1pPr marL="0" indent="0" algn="l">
              <a:buFontTx/>
              <a:buNone/>
              <a:defRPr sz="2000" b="0" i="0">
                <a:latin typeface="+mn-lt"/>
              </a:defRPr>
            </a:lvl1pPr>
          </a:lstStyle>
          <a:p>
            <a:pPr lvl="0"/>
            <a:r>
              <a:rPr lang="en-US" dirty="0"/>
              <a:t>Contact info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3AD3F1B-6514-1946-9D1A-5523E60EB6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07666" y="4058954"/>
            <a:ext cx="1438401" cy="138991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7245169-8F76-8C4A-BCB7-A88BE50181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98204" y="4058954"/>
            <a:ext cx="1388358" cy="138991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unito Sans Light" pitchFamily="2" charset="77"/>
                <a:ea typeface="+mn-ea"/>
                <a:cs typeface="+mn-cs"/>
              </a:rPr>
              <a:t> 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8DBF907-AC21-9141-8503-A925D9043E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890728" y="4952344"/>
            <a:ext cx="12033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 pitchFamily="2" charset="77"/>
                <a:ea typeface="Roboto Medium" panose="02000000000000000000" pitchFamily="2" charset="0"/>
                <a:cs typeface="Roboto Medium" panose="02000000000000000000" pitchFamily="2" charset="0"/>
              </a:rPr>
              <a:t>Headshot</a:t>
            </a:r>
          </a:p>
        </p:txBody>
      </p:sp>
      <p:sp>
        <p:nvSpPr>
          <p:cNvPr id="36" name="Picture Placeholder 5">
            <a:extLst>
              <a:ext uri="{FF2B5EF4-FFF2-40B4-BE49-F238E27FC236}">
                <a16:creationId xmlns:a16="http://schemas.microsoft.com/office/drawing/2014/main" id="{951E437E-C5AA-3740-8222-BE69F3897B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98222" y="4058954"/>
            <a:ext cx="1388340" cy="1389915"/>
          </a:xfrm>
        </p:spPr>
        <p:txBody>
          <a:bodyPr tIns="274320">
            <a:normAutofit/>
          </a:bodyPr>
          <a:lstStyle>
            <a:lvl1pPr algn="l">
              <a:buNone/>
              <a:defRPr sz="1600" b="0" i="0"/>
            </a:lvl1pPr>
          </a:lstStyle>
          <a:p>
            <a:r>
              <a:rPr lang="en-US" dirty="0"/>
              <a:t>Click icon to insert image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BEC7E80B-BEA4-402F-83AA-50D9834C817E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6" name="Footer Placeholder 5" hidden="1">
            <a:extLst>
              <a:ext uri="{FF2B5EF4-FFF2-40B4-BE49-F238E27FC236}">
                <a16:creationId xmlns:a16="http://schemas.microsoft.com/office/drawing/2014/main" id="{65FAC813-B34C-46E5-BA68-FE76BFC664A6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3" name="Logo protection area" hidden="1">
            <a:extLst>
              <a:ext uri="{FF2B5EF4-FFF2-40B4-BE49-F238E27FC236}">
                <a16:creationId xmlns:a16="http://schemas.microsoft.com/office/drawing/2014/main" id="{AB64CC43-6CA7-47D5-9DD9-C2EDD9A77B01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6186276"/>
            <a:ext cx="12192000" cy="67172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4" name="Layout protection area" hidden="1">
            <a:extLst>
              <a:ext uri="{FF2B5EF4-FFF2-40B4-BE49-F238E27FC236}">
                <a16:creationId xmlns:a16="http://schemas.microsoft.com/office/drawing/2014/main" id="{6D2EF5E1-D905-4BE3-B616-3494E88FD74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76098" cy="604361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380CA8-A72A-4D2A-9CC8-3A5723A3AB1D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9396FD-A8D2-5548-97AD-44EE9AACF15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Roboto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unito Sans Light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13601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¨   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6BD8B30-570A-41BC-B76C-CEA2703D39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empos Headline Bold"/>
                <a:ea typeface="+mn-ea"/>
                <a:cs typeface="+mn-cs"/>
              </a:rPr>
              <a:t>Divider </a:t>
            </a:r>
            <a:br>
              <a:rPr kumimoji="0" lang="en-US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empos Headline Bold"/>
                <a:ea typeface="+mn-ea"/>
                <a:cs typeface="+mn-cs"/>
              </a:rPr>
            </a:br>
            <a:r>
              <a:rPr kumimoji="0" lang="en-US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empos Headline Bold"/>
                <a:ea typeface="+mn-ea"/>
                <a:cs typeface="+mn-cs"/>
              </a:rPr>
              <a:t>Layouts</a:t>
            </a:r>
          </a:p>
        </p:txBody>
      </p:sp>
    </p:spTree>
    <p:extLst>
      <p:ext uri="{BB962C8B-B14F-4D97-AF65-F5344CB8AC3E}">
        <p14:creationId xmlns:p14="http://schemas.microsoft.com/office/powerpoint/2010/main" val="4576539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05CA6403-541C-694D-9087-F5085C060A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4233" y="0"/>
            <a:ext cx="5726242" cy="61769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43C991-9E2F-104F-8898-D7E7380924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6771" y="636100"/>
            <a:ext cx="4581161" cy="4731025"/>
          </a:xfrm>
        </p:spPr>
        <p:txBody>
          <a:bodyPr anchor="ctr" anchorCtr="0"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448ABDA-6143-BA43-B304-DACBCAB726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51642" y="-2"/>
            <a:ext cx="6440358" cy="617696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D5A98E4-D72E-7F44-BAC4-AAFE8FA879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695285" y="-1"/>
            <a:ext cx="107630" cy="61769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9" name="Logo protection area" hidden="1">
            <a:extLst>
              <a:ext uri="{FF2B5EF4-FFF2-40B4-BE49-F238E27FC236}">
                <a16:creationId xmlns:a16="http://schemas.microsoft.com/office/drawing/2014/main" id="{CA31C6BB-3090-4736-ACA0-4B095E02319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6186276"/>
            <a:ext cx="12192000" cy="67172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10" name="Layout Protection area" hidden="1">
            <a:extLst>
              <a:ext uri="{FF2B5EF4-FFF2-40B4-BE49-F238E27FC236}">
                <a16:creationId xmlns:a16="http://schemas.microsoft.com/office/drawing/2014/main" id="{6C3EAF7A-ECE8-4A10-A8F4-9112E712B55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-2"/>
            <a:ext cx="5695286" cy="618627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344C601-5F82-4698-828E-DFBEC86C0E1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FB19239-6F77-4099-ADA2-31B4EBAA1F7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AE1065C-18C3-40A7-B8BE-4CE978BE7F4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9396FD-A8D2-5548-97AD-44EE9AACF15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Roboto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unito Sans Light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03398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05CA6403-541C-694D-9087-F5085C060A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4233" y="0"/>
            <a:ext cx="5726242" cy="61769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B70A75B4-7EA5-8A4D-A25F-EFF187B5E4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6771" y="636100"/>
            <a:ext cx="4581161" cy="4731025"/>
          </a:xfrm>
        </p:spPr>
        <p:txBody>
          <a:bodyPr anchor="ctr" anchorCtr="0"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0AFB475-D6F6-8347-AF3E-F626867A48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80057" y="0"/>
            <a:ext cx="6411943" cy="617824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1FF42E62-451F-A945-934E-0D24D1E456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694353" y="-3099"/>
            <a:ext cx="107630" cy="618134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11" name="Logo protection area" hidden="1">
            <a:extLst>
              <a:ext uri="{FF2B5EF4-FFF2-40B4-BE49-F238E27FC236}">
                <a16:creationId xmlns:a16="http://schemas.microsoft.com/office/drawing/2014/main" id="{C704A216-FC8F-4251-B284-6247C937534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6186276"/>
            <a:ext cx="12192000" cy="67172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12" name="Layout Protection area" hidden="1">
            <a:extLst>
              <a:ext uri="{FF2B5EF4-FFF2-40B4-BE49-F238E27FC236}">
                <a16:creationId xmlns:a16="http://schemas.microsoft.com/office/drawing/2014/main" id="{4878FB7B-3C73-430B-9ACC-E3CEC52FFA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-2"/>
            <a:ext cx="5695286" cy="618627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976028DE-9523-400E-80FF-BC81B082B74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6" name="Footer Placeholder 5" hidden="1">
            <a:extLst>
              <a:ext uri="{FF2B5EF4-FFF2-40B4-BE49-F238E27FC236}">
                <a16:creationId xmlns:a16="http://schemas.microsoft.com/office/drawing/2014/main" id="{6B1C730D-2322-4A46-81B7-2D054A3218F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45EDBB5-65D1-4CCB-B20F-A89006140A9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9396FD-A8D2-5548-97AD-44EE9AACF15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Roboto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unito Sans Light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29774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05CA6403-541C-694D-9087-F5085C060A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4233" y="0"/>
            <a:ext cx="5726242" cy="61769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B667C50-AAF6-3245-8FA1-160126F5D7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6771" y="636100"/>
            <a:ext cx="4581161" cy="4731025"/>
          </a:xfrm>
        </p:spPr>
        <p:txBody>
          <a:bodyPr anchor="ctr" anchorCtr="0"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432B82-87CE-8749-A8CF-C2C7DC735A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16"/>
          <a:stretch/>
        </p:blipFill>
        <p:spPr>
          <a:xfrm>
            <a:off x="5726243" y="-2381"/>
            <a:ext cx="6465758" cy="617934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6B6F5D2D-A4F7-1B43-B18D-FA5D46617C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694711" y="-2381"/>
            <a:ext cx="107630" cy="617934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9" name="Logo protection area" hidden="1">
            <a:extLst>
              <a:ext uri="{FF2B5EF4-FFF2-40B4-BE49-F238E27FC236}">
                <a16:creationId xmlns:a16="http://schemas.microsoft.com/office/drawing/2014/main" id="{51EEFC8F-C28F-4C73-B6A6-66B29D5C61E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6186276"/>
            <a:ext cx="12192000" cy="67172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10" name="Layout Protection area" hidden="1">
            <a:extLst>
              <a:ext uri="{FF2B5EF4-FFF2-40B4-BE49-F238E27FC236}">
                <a16:creationId xmlns:a16="http://schemas.microsoft.com/office/drawing/2014/main" id="{BB581FCD-108F-4CE4-92CD-8DD76716B4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-2"/>
            <a:ext cx="5695286" cy="618627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33699042-E824-4AFA-9A67-4DACC65E130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6" name="Footer Placeholder 5" hidden="1">
            <a:extLst>
              <a:ext uri="{FF2B5EF4-FFF2-40B4-BE49-F238E27FC236}">
                <a16:creationId xmlns:a16="http://schemas.microsoft.com/office/drawing/2014/main" id="{029B855A-B9FE-485C-A359-CA85CB48D23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57A637-28EE-45BB-A2A5-A319A0A1CF0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9396FD-A8D2-5548-97AD-44EE9AACF15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Roboto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unito Sans Light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10073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rese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8F289818-772D-A140-AA34-CF35FE3184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9957" y="3816627"/>
            <a:ext cx="3369842" cy="457200"/>
          </a:xfrm>
        </p:spPr>
        <p:txBody>
          <a:bodyPr anchor="b" anchorCtr="0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600" b="0" i="0" spc="0">
                <a:latin typeface="+mj-lt"/>
                <a:ea typeface="Roboto Medium" panose="02000000000000000000" pitchFamily="2" charset="0"/>
                <a:cs typeface="Roboto Medium" panose="02000000000000000000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B4C7420B-45DC-474D-99FE-866DCAFF65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9957" y="4387660"/>
            <a:ext cx="3369842" cy="1236953"/>
          </a:xfrm>
        </p:spPr>
        <p:txBody>
          <a:bodyPr anchor="t" anchorCtr="0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600" b="0" i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1806358C-2118-AD48-8DC7-BFF5D95DFFD0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14400" y="3816627"/>
            <a:ext cx="3369842" cy="457200"/>
          </a:xfrm>
        </p:spPr>
        <p:txBody>
          <a:bodyPr anchor="b" anchorCtr="0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600" b="0" i="0" spc="0">
                <a:latin typeface="+mj-lt"/>
                <a:ea typeface="Roboto Medium" panose="02000000000000000000" pitchFamily="2" charset="0"/>
                <a:cs typeface="Roboto Medium" panose="02000000000000000000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D31ACDCC-87C2-FF49-8E7C-B02BAB919A4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414400" y="4387660"/>
            <a:ext cx="3369842" cy="1236953"/>
          </a:xfrm>
        </p:spPr>
        <p:txBody>
          <a:bodyPr anchor="t" anchorCtr="0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600" b="0" i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C5969C60-04C2-7E41-B02E-762EF54C5B0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268843" y="3816627"/>
            <a:ext cx="3369842" cy="457200"/>
          </a:xfrm>
        </p:spPr>
        <p:txBody>
          <a:bodyPr anchor="b" anchorCtr="0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600" b="0" i="0" spc="0">
                <a:latin typeface="+mj-lt"/>
                <a:ea typeface="Roboto Medium" panose="02000000000000000000" pitchFamily="2" charset="0"/>
                <a:cs typeface="Roboto Medium" panose="02000000000000000000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7263B8DA-A316-9240-A2F3-0657819DEF28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268843" y="4387660"/>
            <a:ext cx="3369842" cy="1236953"/>
          </a:xfrm>
        </p:spPr>
        <p:txBody>
          <a:bodyPr anchor="t" anchorCtr="0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600" b="0" i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3AD3F1B-6514-1946-9D1A-5523E60EB6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51351" y="1632758"/>
            <a:ext cx="2064618" cy="199502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Nunito Sans Light" pitchFamily="2" charset="77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7245169-8F76-8C4A-BCB7-A88BE50181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241887" y="1632758"/>
            <a:ext cx="1992789" cy="199502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0" i="0" dirty="0">
                <a:latin typeface="Nunito Sans Light" pitchFamily="2" charset="77"/>
              </a:rPr>
              <a:t> 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8DBF907-AC21-9141-8503-A925D9043E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569936" y="2704272"/>
            <a:ext cx="13366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0" i="0" dirty="0">
                <a:latin typeface="Nunito Sans Light" pitchFamily="2" charset="77"/>
                <a:ea typeface="Roboto Medium" panose="02000000000000000000" pitchFamily="2" charset="0"/>
                <a:cs typeface="Roboto Medium" panose="02000000000000000000" pitchFamily="2" charset="0"/>
              </a:rPr>
              <a:t>Headsho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F62260E-9D76-7942-A4B5-933CE4A3AD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005794" y="1632758"/>
            <a:ext cx="2064618" cy="199502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Nunito Sans Light" pitchFamily="2" charset="77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8BE99DF-26B9-C847-BE78-DC21AE6A96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096330" y="1632758"/>
            <a:ext cx="1992789" cy="199502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0" i="0" dirty="0">
                <a:latin typeface="Nunito Sans Light" pitchFamily="2" charset="77"/>
              </a:rPr>
              <a:t> 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248FFF7-0332-144A-A0AD-621E6FBDB4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5424379" y="2704272"/>
            <a:ext cx="13366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0" i="0" dirty="0">
                <a:latin typeface="Nunito Sans Light" pitchFamily="2" charset="77"/>
                <a:ea typeface="Roboto Medium" panose="02000000000000000000" pitchFamily="2" charset="0"/>
                <a:cs typeface="Roboto Medium" panose="02000000000000000000" pitchFamily="2" charset="0"/>
              </a:rPr>
              <a:t>Headshot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E0F2FC3-6571-A642-B6BB-80E9C3D52D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860237" y="1632758"/>
            <a:ext cx="2064618" cy="199502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Nunito Sans Light" pitchFamily="2" charset="77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20F946D-A5EF-6945-8730-6C1D3B5016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950773" y="1632758"/>
            <a:ext cx="1992789" cy="199502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0" i="0" dirty="0">
                <a:latin typeface="Nunito Sans Light" pitchFamily="2" charset="77"/>
              </a:rPr>
              <a:t> 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10FFE3A-65DE-9840-9F8C-4753A6E18C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9278822" y="2704272"/>
            <a:ext cx="13366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0" i="0" dirty="0">
                <a:latin typeface="Nunito Sans Light" pitchFamily="2" charset="77"/>
                <a:ea typeface="Roboto Medium" panose="02000000000000000000" pitchFamily="2" charset="0"/>
                <a:cs typeface="Roboto Medium" panose="02000000000000000000" pitchFamily="2" charset="0"/>
              </a:rPr>
              <a:t>Headshot</a:t>
            </a:r>
          </a:p>
        </p:txBody>
      </p:sp>
      <p:sp>
        <p:nvSpPr>
          <p:cNvPr id="36" name="Picture Placeholder 5">
            <a:extLst>
              <a:ext uri="{FF2B5EF4-FFF2-40B4-BE49-F238E27FC236}">
                <a16:creationId xmlns:a16="http://schemas.microsoft.com/office/drawing/2014/main" id="{951E437E-C5AA-3740-8222-BE69F3897B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1241920" y="1632758"/>
            <a:ext cx="1992763" cy="1995024"/>
          </a:xfrm>
        </p:spPr>
        <p:txBody>
          <a:bodyPr tIns="274320">
            <a:normAutofit/>
          </a:bodyPr>
          <a:lstStyle>
            <a:lvl1pPr algn="ctr">
              <a:buNone/>
              <a:defRPr sz="1800" b="0" i="0"/>
            </a:lvl1pPr>
          </a:lstStyle>
          <a:p>
            <a:r>
              <a:rPr lang="en-US" dirty="0"/>
              <a:t>Click icon to insert image</a:t>
            </a:r>
          </a:p>
        </p:txBody>
      </p:sp>
      <p:sp>
        <p:nvSpPr>
          <p:cNvPr id="35" name="Picture Placeholder 5">
            <a:extLst>
              <a:ext uri="{FF2B5EF4-FFF2-40B4-BE49-F238E27FC236}">
                <a16:creationId xmlns:a16="http://schemas.microsoft.com/office/drawing/2014/main" id="{28A656F3-14D7-8246-8110-A861E4943E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5096363" y="1632758"/>
            <a:ext cx="1992763" cy="1995024"/>
          </a:xfrm>
        </p:spPr>
        <p:txBody>
          <a:bodyPr tIns="274320">
            <a:normAutofit/>
          </a:bodyPr>
          <a:lstStyle>
            <a:lvl1pPr algn="ctr">
              <a:buNone/>
              <a:defRPr sz="1800" b="0" i="0"/>
            </a:lvl1pPr>
          </a:lstStyle>
          <a:p>
            <a:r>
              <a:rPr lang="en-US" dirty="0"/>
              <a:t>Click icon to insert image</a:t>
            </a:r>
          </a:p>
        </p:txBody>
      </p:sp>
      <p:sp>
        <p:nvSpPr>
          <p:cNvPr id="42" name="Picture Placeholder 5">
            <a:extLst>
              <a:ext uri="{FF2B5EF4-FFF2-40B4-BE49-F238E27FC236}">
                <a16:creationId xmlns:a16="http://schemas.microsoft.com/office/drawing/2014/main" id="{FE400214-434D-6945-93FB-1AF8D0D74D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8950806" y="1632758"/>
            <a:ext cx="1992763" cy="1995024"/>
          </a:xfrm>
        </p:spPr>
        <p:txBody>
          <a:bodyPr tIns="274320">
            <a:normAutofit/>
          </a:bodyPr>
          <a:lstStyle>
            <a:lvl1pPr algn="ctr">
              <a:buNone/>
              <a:defRPr sz="1800" b="0" i="0"/>
            </a:lvl1pPr>
          </a:lstStyle>
          <a:p>
            <a:r>
              <a:rPr lang="en-US" dirty="0"/>
              <a:t>Click icon to insert image</a:t>
            </a:r>
          </a:p>
        </p:txBody>
      </p:sp>
      <p:sp>
        <p:nvSpPr>
          <p:cNvPr id="6" name="Footer Placeholder 5" hidden="1">
            <a:extLst>
              <a:ext uri="{FF2B5EF4-FFF2-40B4-BE49-F238E27FC236}">
                <a16:creationId xmlns:a16="http://schemas.microsoft.com/office/drawing/2014/main" id="{65FAC813-B34C-46E5-BA68-FE76BFC664A6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BEC7E80B-BEA4-402F-83AA-50D9834C817E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77AA6E6C-BB3E-E94D-B480-811E6A5390FE}" type="datetime1">
              <a:rPr lang="en-US" smtClean="0"/>
              <a:pPr/>
              <a:t>4/20/2021</a:t>
            </a:fld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380CA8-A72A-4D2A-9CC8-3A5723A3AB1D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7F9396FD-A8D2-5548-97AD-44EE9AACF1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7297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05CA6403-541C-694D-9087-F5085C060A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4233" y="0"/>
            <a:ext cx="5726242" cy="61769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FBB264C-B577-C94B-9A1E-4036F060FA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6771" y="636100"/>
            <a:ext cx="4581161" cy="4731025"/>
          </a:xfrm>
        </p:spPr>
        <p:txBody>
          <a:bodyPr anchor="ctr" anchorCtr="0"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221EB53-AB71-9B4F-9104-E993CF2D24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95772" y="0"/>
            <a:ext cx="6396228" cy="617696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B83BEFB5-053B-9043-A2D0-BC5A06FFCF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700047" y="0"/>
            <a:ext cx="107630" cy="61769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11" name="Logo protection area" hidden="1">
            <a:extLst>
              <a:ext uri="{FF2B5EF4-FFF2-40B4-BE49-F238E27FC236}">
                <a16:creationId xmlns:a16="http://schemas.microsoft.com/office/drawing/2014/main" id="{7C12B07B-F49A-4639-B135-806A5C134BD4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6186276"/>
            <a:ext cx="12192000" cy="67172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12" name="Layout Protection area" hidden="1">
            <a:extLst>
              <a:ext uri="{FF2B5EF4-FFF2-40B4-BE49-F238E27FC236}">
                <a16:creationId xmlns:a16="http://schemas.microsoft.com/office/drawing/2014/main" id="{AFE0E5E1-7F3A-4455-A608-C5AE841BF2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-2"/>
            <a:ext cx="5695286" cy="618627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69992046-A1A7-4C1B-9FC5-AE5D73C5972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6" name="Footer Placeholder 5" hidden="1">
            <a:extLst>
              <a:ext uri="{FF2B5EF4-FFF2-40B4-BE49-F238E27FC236}">
                <a16:creationId xmlns:a16="http://schemas.microsoft.com/office/drawing/2014/main" id="{4939F8CC-DCF1-48F0-8D2C-B924D47B7B9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55443F-2CA7-42B8-90EF-9255F2A7F4A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9396FD-A8D2-5548-97AD-44EE9AACF15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Roboto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unito Sans Light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803516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05CA6403-541C-694D-9087-F5085C060A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4233" y="0"/>
            <a:ext cx="5726242" cy="61769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3E97416-E874-3342-9A06-D3071F1E67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6771" y="636100"/>
            <a:ext cx="4581161" cy="4731025"/>
          </a:xfrm>
        </p:spPr>
        <p:txBody>
          <a:bodyPr anchor="ctr" anchorCtr="0"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DE50571-6E5B-9542-BA57-115C9EA22C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95772" y="0"/>
            <a:ext cx="6396227" cy="6176963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8A4A1454-8D6A-1146-9732-58A1A6DD9E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694621" y="0"/>
            <a:ext cx="107630" cy="61769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92AF61C4-429F-4898-A805-56B38546A97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6" name="Footer Placeholder 5" hidden="1">
            <a:extLst>
              <a:ext uri="{FF2B5EF4-FFF2-40B4-BE49-F238E27FC236}">
                <a16:creationId xmlns:a16="http://schemas.microsoft.com/office/drawing/2014/main" id="{75722716-A251-47DB-B678-0501ED721AF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9" name="Layout Protection area" hidden="1">
            <a:extLst>
              <a:ext uri="{FF2B5EF4-FFF2-40B4-BE49-F238E27FC236}">
                <a16:creationId xmlns:a16="http://schemas.microsoft.com/office/drawing/2014/main" id="{2523011E-7BD8-454C-9CB8-D6267D2CE0A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-2"/>
            <a:ext cx="5695286" cy="618627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10" name="Logo protection area" hidden="1">
            <a:extLst>
              <a:ext uri="{FF2B5EF4-FFF2-40B4-BE49-F238E27FC236}">
                <a16:creationId xmlns:a16="http://schemas.microsoft.com/office/drawing/2014/main" id="{A01782FE-5490-4FFB-945A-5F6D78FB1CA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6186276"/>
            <a:ext cx="12192000" cy="67172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D5BDEF-FBC2-4DD5-A34B-63CFBDEDED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9396FD-A8D2-5548-97AD-44EE9AACF15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Roboto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unito Sans Light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006347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05CA6403-541C-694D-9087-F5085C060A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-4233" y="0"/>
            <a:ext cx="5804958" cy="61769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unito Sans Light" pitchFamily="2" charset="77"/>
                <a:ea typeface="+mn-ea"/>
                <a:cs typeface="+mn-cs"/>
              </a:rPr>
              <a:t>                         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4A180F2-7E08-DD4B-B80A-17FB8D573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6771" y="636100"/>
            <a:ext cx="4581161" cy="4731025"/>
          </a:xfrm>
        </p:spPr>
        <p:txBody>
          <a:bodyPr anchor="ctr" anchorCtr="0"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E183135-5EB3-49A2-BCE5-4FE66EE2C66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804746" y="-2666"/>
            <a:ext cx="6387254" cy="6180972"/>
          </a:xfrm>
          <a:prstGeom prst="callout1">
            <a:avLst>
              <a:gd name="adj1" fmla="val 29"/>
              <a:gd name="adj2" fmla="val -902"/>
              <a:gd name="adj3" fmla="val 99967"/>
              <a:gd name="adj4" fmla="val -872"/>
            </a:avLst>
          </a:prstGeom>
          <a:ln w="110490">
            <a:solidFill>
              <a:schemeClr val="accent4"/>
            </a:solidFill>
          </a:ln>
        </p:spPr>
        <p:txBody>
          <a:bodyPr anchor="ctr"/>
          <a:lstStyle>
            <a:lvl1pPr algn="ctr">
              <a:buNone/>
              <a:defRPr/>
            </a:lvl1pPr>
          </a:lstStyle>
          <a:p>
            <a:r>
              <a:rPr lang="en-US" dirty="0"/>
              <a:t>Click icon to insert image – to change the color of the vertical line, mark the image and change the outline color of the image. </a:t>
            </a:r>
          </a:p>
        </p:txBody>
      </p:sp>
      <p:sp>
        <p:nvSpPr>
          <p:cNvPr id="8" name="Logo protection area" hidden="1">
            <a:extLst>
              <a:ext uri="{FF2B5EF4-FFF2-40B4-BE49-F238E27FC236}">
                <a16:creationId xmlns:a16="http://schemas.microsoft.com/office/drawing/2014/main" id="{643AC0A1-C85A-4063-87B8-C301374264A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6186276"/>
            <a:ext cx="12192000" cy="67172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9" name="Layout Protection area" hidden="1">
            <a:extLst>
              <a:ext uri="{FF2B5EF4-FFF2-40B4-BE49-F238E27FC236}">
                <a16:creationId xmlns:a16="http://schemas.microsoft.com/office/drawing/2014/main" id="{E57B2C00-3F1E-4D57-8C7F-618C6FAF7C8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-2"/>
            <a:ext cx="12192000" cy="618627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D887608E-88C4-C84F-A823-00FBF2D640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C1F34A88-E870-4542-8E40-0AB050539B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2DA6D7-3213-8747-BBAC-FA39EEBE90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9396FD-A8D2-5548-97AD-44EE9AACF15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Roboto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unito Sans Light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15082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D2910EC-9F5C-4391-8AF2-F9CFC39F7A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636102"/>
            <a:ext cx="4590670" cy="3926373"/>
          </a:xfrm>
        </p:spPr>
        <p:txBody>
          <a:bodyPr anchor="b"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01CC04-9736-42B5-8D68-0F4B7C75D9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4589464"/>
            <a:ext cx="4590670" cy="145415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3720C0-1F73-44CA-BE18-3F269E368D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90D883-CF02-40E7-B98E-B7F4961A17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AEC3E9-BA5F-4CAB-B661-E2C8B49915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D34398-B1E2-43C1-9165-889316B49F6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Roboto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unito Sans Light"/>
              <a:ea typeface="Roboto" panose="02000000000000000000" pitchFamily="2" charset="0"/>
            </a:endParaRPr>
          </a:p>
        </p:txBody>
      </p:sp>
      <p:sp>
        <p:nvSpPr>
          <p:cNvPr id="7" name="Logo protection area" hidden="1">
            <a:extLst>
              <a:ext uri="{FF2B5EF4-FFF2-40B4-BE49-F238E27FC236}">
                <a16:creationId xmlns:a16="http://schemas.microsoft.com/office/drawing/2014/main" id="{B31CC57A-16B9-43FE-974C-2D6A76D0B102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6186276"/>
            <a:ext cx="12192000" cy="67172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8" name="Layout Protection area" hidden="1">
            <a:extLst>
              <a:ext uri="{FF2B5EF4-FFF2-40B4-BE49-F238E27FC236}">
                <a16:creationId xmlns:a16="http://schemas.microsoft.com/office/drawing/2014/main" id="{39FC89FB-37B2-4530-A451-F07AE033AC1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-2"/>
            <a:ext cx="12192000" cy="618627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008233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Divider Blue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9219DD1-D40F-414F-AF9C-5D3427538F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621195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56CEC44-29CF-E94A-894E-8191AE05FE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192624" y="2905981"/>
            <a:ext cx="1999376" cy="1522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59EC9B6-308D-2840-83E7-0CB7E91EC2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297" y="2881705"/>
            <a:ext cx="5847522" cy="4201758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0B669FE-D86B-5B42-AFCA-FA1600DBAF10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2118360" y="2324399"/>
            <a:ext cx="7955280" cy="1329595"/>
          </a:xfrm>
          <a:noFill/>
        </p:spPr>
        <p:txBody>
          <a:bodyPr wrap="square" anchor="ctr" anchorCtr="0">
            <a:spAutoFit/>
          </a:bodyPr>
          <a:lstStyle>
            <a:lvl1pPr algn="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F5B98E85-B5DD-4AF2-9115-EB970F907B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1C11B3FE-F4DF-4A04-96AE-A05A0CFD39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12" name="Logo protection area" hidden="1">
            <a:extLst>
              <a:ext uri="{FF2B5EF4-FFF2-40B4-BE49-F238E27FC236}">
                <a16:creationId xmlns:a16="http://schemas.microsoft.com/office/drawing/2014/main" id="{A02CA92F-C143-49B2-A33A-82387C73781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6186276"/>
            <a:ext cx="12192000" cy="67172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50C89285-9DE7-4B05-903E-2FEC11D2C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F9396FD-A8D2-5548-97AD-44EE9AACF1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627656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Divider 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9219DD1-D40F-414F-AF9C-5D3427538F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621195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56CEC44-29CF-E94A-894E-8191AE05FE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192624" y="2905981"/>
            <a:ext cx="1999376" cy="15223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59EC9B6-308D-2840-83E7-0CB7E91EC2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297" y="2881705"/>
            <a:ext cx="5847522" cy="4201758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0B669FE-D86B-5B42-AFCA-FA1600DBAF10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2118360" y="2324399"/>
            <a:ext cx="7955280" cy="1329595"/>
          </a:xfrm>
          <a:noFill/>
        </p:spPr>
        <p:txBody>
          <a:bodyPr wrap="square" anchor="ctr" anchorCtr="0">
            <a:spAutoFit/>
          </a:bodyPr>
          <a:lstStyle>
            <a:lvl1pPr algn="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F5B98E85-B5DD-4AF2-9115-EB970F907B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1C11B3FE-F4DF-4A04-96AE-A05A0CFD39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12" name="Logo protection area" hidden="1">
            <a:extLst>
              <a:ext uri="{FF2B5EF4-FFF2-40B4-BE49-F238E27FC236}">
                <a16:creationId xmlns:a16="http://schemas.microsoft.com/office/drawing/2014/main" id="{A02CA92F-C143-49B2-A33A-82387C73781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6186276"/>
            <a:ext cx="12192000" cy="67172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50C89285-9DE7-4B05-903E-2FEC11D2C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F9396FD-A8D2-5548-97AD-44EE9AACF1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7899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Divider Yellow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9219DD1-D40F-414F-AF9C-5D3427538F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621195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56CEC44-29CF-E94A-894E-8191AE05FE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192624" y="2905981"/>
            <a:ext cx="1999376" cy="15223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59EC9B6-308D-2840-83E7-0CB7E91EC2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297" y="2881705"/>
            <a:ext cx="5847522" cy="4201758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0B669FE-D86B-5B42-AFCA-FA1600DBAF10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2118360" y="2324399"/>
            <a:ext cx="7955280" cy="1329595"/>
          </a:xfrm>
          <a:noFill/>
        </p:spPr>
        <p:txBody>
          <a:bodyPr wrap="square" anchor="ctr" anchorCtr="0">
            <a:spAutoFit/>
          </a:bodyPr>
          <a:lstStyle>
            <a:lvl1pPr algn="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Logo protection area" hidden="1">
            <a:extLst>
              <a:ext uri="{FF2B5EF4-FFF2-40B4-BE49-F238E27FC236}">
                <a16:creationId xmlns:a16="http://schemas.microsoft.com/office/drawing/2014/main" id="{5127A373-E9E9-4C21-B20A-01D9D5EBE2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6186276"/>
            <a:ext cx="12192000" cy="67172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1DA3FD5B-8CA2-44FB-A756-6D41C6820A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DF71704C-C265-4917-BEB8-2AE543A111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40F74DCD-BE86-4CB4-BC81-5B482325B6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F9396FD-A8D2-5548-97AD-44EE9AACF1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092369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Divider Orange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9219DD1-D40F-414F-AF9C-5D3427538F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621195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56CEC44-29CF-E94A-894E-8191AE05FE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192624" y="2905981"/>
            <a:ext cx="1999376" cy="15223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59EC9B6-308D-2840-83E7-0CB7E91EC2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297" y="2881705"/>
            <a:ext cx="5847522" cy="4201758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0B669FE-D86B-5B42-AFCA-FA1600DBAF10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2118360" y="2324399"/>
            <a:ext cx="7955280" cy="1329595"/>
          </a:xfrm>
          <a:noFill/>
        </p:spPr>
        <p:txBody>
          <a:bodyPr wrap="square" anchor="ctr" anchorCtr="0">
            <a:spAutoFit/>
          </a:bodyPr>
          <a:lstStyle>
            <a:lvl1pPr algn="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Logo protection area" hidden="1">
            <a:extLst>
              <a:ext uri="{FF2B5EF4-FFF2-40B4-BE49-F238E27FC236}">
                <a16:creationId xmlns:a16="http://schemas.microsoft.com/office/drawing/2014/main" id="{7DAC4091-26C0-4E8D-A4E2-684D1CEB54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6186276"/>
            <a:ext cx="12192000" cy="67172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6641054D-3596-4B09-834E-B84C3D0EAE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3713ECAB-2226-4D41-B682-5BCDC86092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7181EAE3-9304-4407-910E-8A1BD4B054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F9396FD-A8D2-5548-97AD-44EE9AACF1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31977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Divider Purple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9219DD1-D40F-414F-AF9C-5D3427538F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621195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56CEC44-29CF-E94A-894E-8191AE05FE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192624" y="2905981"/>
            <a:ext cx="1999376" cy="15223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59EC9B6-308D-2840-83E7-0CB7E91EC2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alphaModFix am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297" y="2881705"/>
            <a:ext cx="5847522" cy="4201758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0B669FE-D86B-5B42-AFCA-FA1600DBAF10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2118360" y="2324399"/>
            <a:ext cx="7955280" cy="1329595"/>
          </a:xfrm>
          <a:noFill/>
        </p:spPr>
        <p:txBody>
          <a:bodyPr wrap="square" anchor="ctr" anchorCtr="0">
            <a:spAutoFit/>
          </a:bodyPr>
          <a:lstStyle>
            <a:lvl1pPr algn="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90FF8D0E-BDEE-430B-A779-3771BFA99B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DAF87E00-9FF7-4DCB-8F5D-ADCE3C2187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12" name="Logo protection area" hidden="1">
            <a:extLst>
              <a:ext uri="{FF2B5EF4-FFF2-40B4-BE49-F238E27FC236}">
                <a16:creationId xmlns:a16="http://schemas.microsoft.com/office/drawing/2014/main" id="{00B7AD9C-5EE6-4A02-BF6F-15CBE7A2E2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6186276"/>
            <a:ext cx="12192000" cy="67172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3F5C21B-4274-4D19-883D-CC1E6FFDBD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F9396FD-A8D2-5548-97AD-44EE9AACF1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4223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¨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6BD8B30-570A-41BC-B76C-CEA2703D39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empos Headline Bold"/>
                <a:ea typeface="+mn-ea"/>
                <a:cs typeface="+mn-cs"/>
              </a:rPr>
              <a:t>Titl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empos Headline Bold"/>
                <a:ea typeface="+mn-ea"/>
                <a:cs typeface="+mn-cs"/>
              </a:rPr>
              <a:t> Layouts</a:t>
            </a:r>
          </a:p>
        </p:txBody>
      </p:sp>
    </p:spTree>
    <p:extLst>
      <p:ext uri="{BB962C8B-B14F-4D97-AF65-F5344CB8AC3E}">
        <p14:creationId xmlns:p14="http://schemas.microsoft.com/office/powerpoint/2010/main" val="23874060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rese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8F289818-772D-A140-AA34-CF35FE3184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6291" y="3818919"/>
            <a:ext cx="2470676" cy="233710"/>
          </a:xfrm>
        </p:spPr>
        <p:txBody>
          <a:bodyPr anchor="b" anchorCtr="0">
            <a:noAutofit/>
          </a:bodyPr>
          <a:lstStyle>
            <a:lvl1pPr marL="0" indent="0" algn="ctr">
              <a:buFont typeface="Arial" panose="020B0604020202020204" pitchFamily="34" charset="0"/>
              <a:buChar char="​"/>
              <a:defRPr sz="1300" b="0" i="0" spc="0">
                <a:latin typeface="+mj-lt"/>
                <a:ea typeface="Roboto Medium" panose="02000000000000000000" pitchFamily="2" charset="0"/>
                <a:cs typeface="Roboto Medium" panose="02000000000000000000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B4C7420B-45DC-474D-99FE-866DCAFF65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6290" y="4109999"/>
            <a:ext cx="2470677" cy="1236953"/>
          </a:xfrm>
        </p:spPr>
        <p:txBody>
          <a:bodyPr anchor="t" anchorCtr="0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300" b="0" i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3E6BA00D-873D-3449-AACE-B6EB39DBBBD7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3511716" y="3818919"/>
            <a:ext cx="2470676" cy="233710"/>
          </a:xfrm>
        </p:spPr>
        <p:txBody>
          <a:bodyPr anchor="b" anchorCtr="0">
            <a:noAutofit/>
          </a:bodyPr>
          <a:lstStyle>
            <a:lvl1pPr marL="0" indent="0" algn="ctr">
              <a:buFont typeface="Arial" panose="020B0604020202020204" pitchFamily="34" charset="0"/>
              <a:buChar char="​"/>
              <a:defRPr sz="1300" b="0" i="0" spc="0">
                <a:latin typeface="+mj-lt"/>
                <a:ea typeface="Roboto Medium" panose="02000000000000000000" pitchFamily="2" charset="0"/>
                <a:cs typeface="Roboto Medium" panose="02000000000000000000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8" name="Text Placeholder 10">
            <a:extLst>
              <a:ext uri="{FF2B5EF4-FFF2-40B4-BE49-F238E27FC236}">
                <a16:creationId xmlns:a16="http://schemas.microsoft.com/office/drawing/2014/main" id="{8FF5E4BC-2E10-CB44-9802-D46774F4123E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3511715" y="4109999"/>
            <a:ext cx="2470677" cy="1236953"/>
          </a:xfrm>
        </p:spPr>
        <p:txBody>
          <a:bodyPr anchor="t" anchorCtr="0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300" b="0" i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9" name="Text Placeholder 8">
            <a:extLst>
              <a:ext uri="{FF2B5EF4-FFF2-40B4-BE49-F238E27FC236}">
                <a16:creationId xmlns:a16="http://schemas.microsoft.com/office/drawing/2014/main" id="{319A64E7-9A91-6742-B189-A4DBB5B40A7C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6197141" y="3818919"/>
            <a:ext cx="2470676" cy="233710"/>
          </a:xfrm>
        </p:spPr>
        <p:txBody>
          <a:bodyPr anchor="b" anchorCtr="0">
            <a:noAutofit/>
          </a:bodyPr>
          <a:lstStyle>
            <a:lvl1pPr marL="0" indent="0" algn="ctr">
              <a:buFont typeface="Arial" panose="020B0604020202020204" pitchFamily="34" charset="0"/>
              <a:buChar char="​"/>
              <a:defRPr sz="1300" b="0" i="0" spc="0">
                <a:latin typeface="+mj-lt"/>
                <a:ea typeface="Roboto Medium" panose="02000000000000000000" pitchFamily="2" charset="0"/>
                <a:cs typeface="Roboto Medium" panose="02000000000000000000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0" name="Text Placeholder 10">
            <a:extLst>
              <a:ext uri="{FF2B5EF4-FFF2-40B4-BE49-F238E27FC236}">
                <a16:creationId xmlns:a16="http://schemas.microsoft.com/office/drawing/2014/main" id="{5332BF71-0E13-424F-9700-79F4AA8E3A38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6197140" y="4109999"/>
            <a:ext cx="2470677" cy="1236953"/>
          </a:xfrm>
        </p:spPr>
        <p:txBody>
          <a:bodyPr anchor="t" anchorCtr="0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300" b="0" i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1" name="Text Placeholder 8">
            <a:extLst>
              <a:ext uri="{FF2B5EF4-FFF2-40B4-BE49-F238E27FC236}">
                <a16:creationId xmlns:a16="http://schemas.microsoft.com/office/drawing/2014/main" id="{040038F4-AA58-B54C-88B7-33A677C93229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8882565" y="3818919"/>
            <a:ext cx="2470676" cy="233710"/>
          </a:xfrm>
        </p:spPr>
        <p:txBody>
          <a:bodyPr anchor="b" anchorCtr="0">
            <a:noAutofit/>
          </a:bodyPr>
          <a:lstStyle>
            <a:lvl1pPr marL="0" indent="0" algn="ctr">
              <a:buFont typeface="Arial" panose="020B0604020202020204" pitchFamily="34" charset="0"/>
              <a:buChar char="​"/>
              <a:defRPr sz="1300" b="0" i="0" spc="0">
                <a:latin typeface="+mj-lt"/>
                <a:ea typeface="Roboto Medium" panose="02000000000000000000" pitchFamily="2" charset="0"/>
                <a:cs typeface="Roboto Medium" panose="02000000000000000000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2" name="Text Placeholder 10">
            <a:extLst>
              <a:ext uri="{FF2B5EF4-FFF2-40B4-BE49-F238E27FC236}">
                <a16:creationId xmlns:a16="http://schemas.microsoft.com/office/drawing/2014/main" id="{FE21304F-5CF1-3143-A20B-6949637FA3A9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8882564" y="4109999"/>
            <a:ext cx="2470677" cy="1236953"/>
          </a:xfrm>
        </p:spPr>
        <p:txBody>
          <a:bodyPr anchor="t" anchorCtr="0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300" b="0" i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9A5FF8A-2A79-834F-AA61-B9064AD947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88263" y="1775450"/>
            <a:ext cx="1947295" cy="188165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F3E8339-4363-CC4D-95C6-84C44C28C0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78800" y="1775450"/>
            <a:ext cx="1879547" cy="188165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unito Sans Light" pitchFamily="2" charset="77"/>
                <a:ea typeface="+mn-ea"/>
                <a:cs typeface="+mn-cs"/>
              </a:rPr>
              <a:t> 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209960D-E04E-7245-B83B-5A9EBED26D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271324" y="3051692"/>
            <a:ext cx="16290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 pitchFamily="2" charset="77"/>
                <a:ea typeface="Roboto Medium" panose="02000000000000000000" pitchFamily="2" charset="0"/>
                <a:cs typeface="Roboto Medium" panose="02000000000000000000" pitchFamily="2" charset="0"/>
              </a:rPr>
              <a:t>Headshot</a:t>
            </a:r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6E67699B-DAED-7447-94E4-3848170F02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1178818" y="1775450"/>
            <a:ext cx="1879523" cy="1881655"/>
          </a:xfrm>
        </p:spPr>
        <p:txBody>
          <a:bodyPr tIns="274320">
            <a:normAutofit/>
          </a:bodyPr>
          <a:lstStyle>
            <a:lvl1pPr algn="l">
              <a:buNone/>
              <a:defRPr sz="1600" b="0" i="0"/>
            </a:lvl1pPr>
          </a:lstStyle>
          <a:p>
            <a:r>
              <a:rPr lang="en-US" dirty="0"/>
              <a:t>Click icon to insert image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D58A104-B2A1-B34D-8DDF-EB3C99DE42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765718" y="1775450"/>
            <a:ext cx="1947295" cy="188165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EBE52FD-7FC2-4C40-9CA9-358713F9F9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856255" y="1775450"/>
            <a:ext cx="1879547" cy="188165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unito Sans Light" pitchFamily="2" charset="77"/>
                <a:ea typeface="+mn-ea"/>
                <a:cs typeface="+mn-cs"/>
              </a:rPr>
              <a:t> 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D741936-94F8-A343-A1DC-9FFB659C1F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3948779" y="3051692"/>
            <a:ext cx="16290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 pitchFamily="2" charset="77"/>
                <a:ea typeface="Roboto Medium" panose="02000000000000000000" pitchFamily="2" charset="0"/>
                <a:cs typeface="Roboto Medium" panose="02000000000000000000" pitchFamily="2" charset="0"/>
              </a:rPr>
              <a:t>Headshot</a:t>
            </a:r>
          </a:p>
        </p:txBody>
      </p:sp>
      <p:sp>
        <p:nvSpPr>
          <p:cNvPr id="42" name="Picture Placeholder 5">
            <a:extLst>
              <a:ext uri="{FF2B5EF4-FFF2-40B4-BE49-F238E27FC236}">
                <a16:creationId xmlns:a16="http://schemas.microsoft.com/office/drawing/2014/main" id="{49ABB335-E6E5-5742-A4A3-5BC7222FE8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3856273" y="1775450"/>
            <a:ext cx="1879523" cy="1881655"/>
          </a:xfrm>
        </p:spPr>
        <p:txBody>
          <a:bodyPr tIns="274320">
            <a:normAutofit/>
          </a:bodyPr>
          <a:lstStyle>
            <a:lvl1pPr algn="l">
              <a:buNone/>
              <a:defRPr sz="1600" b="0" i="0"/>
            </a:lvl1pPr>
          </a:lstStyle>
          <a:p>
            <a:r>
              <a:rPr lang="en-US" dirty="0"/>
              <a:t>Click icon to insert image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C6F2581-571F-9347-A0CA-5488B41BA4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451861" y="1775450"/>
            <a:ext cx="1947295" cy="188165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104E7DBE-6F2A-1D4F-858F-FF0091B3C0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542398" y="1775450"/>
            <a:ext cx="1879547" cy="188165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unito Sans Light" pitchFamily="2" charset="77"/>
                <a:ea typeface="+mn-ea"/>
                <a:cs typeface="+mn-cs"/>
              </a:rPr>
              <a:t> 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5ACF9186-A8A3-5946-9D3A-806BB2E1CB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6634922" y="3051692"/>
            <a:ext cx="16290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 pitchFamily="2" charset="77"/>
                <a:ea typeface="Roboto Medium" panose="02000000000000000000" pitchFamily="2" charset="0"/>
                <a:cs typeface="Roboto Medium" panose="02000000000000000000" pitchFamily="2" charset="0"/>
              </a:rPr>
              <a:t>Headshot</a:t>
            </a:r>
          </a:p>
        </p:txBody>
      </p:sp>
      <p:sp>
        <p:nvSpPr>
          <p:cNvPr id="46" name="Picture Placeholder 5">
            <a:extLst>
              <a:ext uri="{FF2B5EF4-FFF2-40B4-BE49-F238E27FC236}">
                <a16:creationId xmlns:a16="http://schemas.microsoft.com/office/drawing/2014/main" id="{2D52D5E7-F51B-BB4F-9CB4-A45A6815AC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6542416" y="1775450"/>
            <a:ext cx="1879523" cy="1881655"/>
          </a:xfrm>
        </p:spPr>
        <p:txBody>
          <a:bodyPr tIns="274320">
            <a:normAutofit/>
          </a:bodyPr>
          <a:lstStyle>
            <a:lvl1pPr algn="l">
              <a:buNone/>
              <a:defRPr sz="1600" b="0" i="0"/>
            </a:lvl1pPr>
          </a:lstStyle>
          <a:p>
            <a:r>
              <a:rPr lang="en-US" dirty="0"/>
              <a:t>Click icon to insert imag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6BD122F-CABC-034B-9791-4882790348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33653" y="1775450"/>
            <a:ext cx="1947295" cy="188165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CD8EB1B-3FD0-EC4D-A7E9-4D80F04EE6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24190" y="1775450"/>
            <a:ext cx="1879547" cy="188165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unito Sans Light" pitchFamily="2" charset="77"/>
                <a:ea typeface="+mn-ea"/>
                <a:cs typeface="+mn-cs"/>
              </a:rPr>
              <a:t>  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0AF10AA2-20F0-3E45-B0E4-2023C34AD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9316714" y="3051692"/>
            <a:ext cx="16290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 pitchFamily="2" charset="77"/>
                <a:ea typeface="Roboto Medium" panose="02000000000000000000" pitchFamily="2" charset="0"/>
                <a:cs typeface="Roboto Medium" panose="02000000000000000000" pitchFamily="2" charset="0"/>
              </a:rPr>
              <a:t>Headshot</a:t>
            </a:r>
          </a:p>
        </p:txBody>
      </p:sp>
      <p:sp>
        <p:nvSpPr>
          <p:cNvPr id="50" name="Picture Placeholder 5">
            <a:extLst>
              <a:ext uri="{FF2B5EF4-FFF2-40B4-BE49-F238E27FC236}">
                <a16:creationId xmlns:a16="http://schemas.microsoft.com/office/drawing/2014/main" id="{46E35F6C-8F6A-0C47-B0B2-852C57D867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9224208" y="1775450"/>
            <a:ext cx="1879523" cy="1881655"/>
          </a:xfrm>
        </p:spPr>
        <p:txBody>
          <a:bodyPr tIns="274320">
            <a:normAutofit/>
          </a:bodyPr>
          <a:lstStyle>
            <a:lvl1pPr algn="l">
              <a:buNone/>
              <a:defRPr sz="1600" b="0" i="0"/>
            </a:lvl1pPr>
          </a:lstStyle>
          <a:p>
            <a:r>
              <a:rPr lang="en-US" dirty="0"/>
              <a:t>Click icon to insert image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BEC7E80B-BEA4-402F-83AA-50D9834C817E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77AA6E6C-BB3E-E94D-B480-811E6A5390FE}" type="datetime1">
              <a:rPr lang="en-US" smtClean="0"/>
              <a:pPr/>
              <a:t>4/20/2021</a:t>
            </a:fld>
            <a:endParaRPr lang="en-US" dirty="0"/>
          </a:p>
        </p:txBody>
      </p:sp>
      <p:sp>
        <p:nvSpPr>
          <p:cNvPr id="6" name="Footer Placeholder 5" hidden="1">
            <a:extLst>
              <a:ext uri="{FF2B5EF4-FFF2-40B4-BE49-F238E27FC236}">
                <a16:creationId xmlns:a16="http://schemas.microsoft.com/office/drawing/2014/main" id="{65FAC813-B34C-46E5-BA68-FE76BFC664A6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29" name="Logo protection area" hidden="1">
            <a:extLst>
              <a:ext uri="{FF2B5EF4-FFF2-40B4-BE49-F238E27FC236}">
                <a16:creationId xmlns:a16="http://schemas.microsoft.com/office/drawing/2014/main" id="{08356037-3A3A-124B-9A57-F45A664F1E6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6186276"/>
            <a:ext cx="12192000" cy="67172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30" name="Layout protection area" hidden="1">
            <a:extLst>
              <a:ext uri="{FF2B5EF4-FFF2-40B4-BE49-F238E27FC236}">
                <a16:creationId xmlns:a16="http://schemas.microsoft.com/office/drawing/2014/main" id="{7E60E8E9-D961-D74B-B75F-492C7E623D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76098" cy="604361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380CA8-A72A-4D2A-9CC8-3A5723A3AB1D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7F9396FD-A8D2-5548-97AD-44EE9AACF1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467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B669FE-D86B-5B42-AFCA-FA1600DBAF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228109"/>
            <a:ext cx="9144000" cy="1690254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0FA503F-5D72-DA4B-B04B-A6E0102280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994564"/>
            <a:ext cx="9144000" cy="1046160"/>
          </a:xfrm>
        </p:spPr>
        <p:txBody>
          <a:bodyPr/>
          <a:lstStyle>
            <a:lvl1pPr marL="0" indent="0" algn="ctr">
              <a:buNone/>
              <a:defRPr sz="2400" b="0" i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0" name="Picture 9" descr="Anthology Logo">
            <a:extLst>
              <a:ext uri="{FF2B5EF4-FFF2-40B4-BE49-F238E27FC236}">
                <a16:creationId xmlns:a16="http://schemas.microsoft.com/office/drawing/2014/main" id="{BE13A13F-2BC3-40F0-91E5-513B5F14DA8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6813" y="1406105"/>
            <a:ext cx="2578374" cy="1511214"/>
          </a:xfrm>
          <a:prstGeom prst="rect">
            <a:avLst/>
          </a:prstGeom>
        </p:spPr>
      </p:pic>
      <p:sp>
        <p:nvSpPr>
          <p:cNvPr id="11" name="Layout Protection area" hidden="1">
            <a:extLst>
              <a:ext uri="{FF2B5EF4-FFF2-40B4-BE49-F238E27FC236}">
                <a16:creationId xmlns:a16="http://schemas.microsoft.com/office/drawing/2014/main" id="{E3C166E0-9EBC-42F9-AAC9-61DFFFE13FA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-1" y="2953172"/>
            <a:ext cx="12192001" cy="3904827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6" name="Logo protection area" hidden="1">
            <a:extLst>
              <a:ext uri="{FF2B5EF4-FFF2-40B4-BE49-F238E27FC236}">
                <a16:creationId xmlns:a16="http://schemas.microsoft.com/office/drawing/2014/main" id="{543444F6-2A81-411F-9E00-EE2A9031487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673600" y="1329903"/>
            <a:ext cx="2858347" cy="1587415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511517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72523A-D20D-2442-AD18-77F96D0B81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4416964"/>
            <a:ext cx="7931150" cy="2286000"/>
          </a:xfrm>
        </p:spPr>
        <p:txBody>
          <a:bodyPr anchor="ctr" anchorCtr="0"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 descr="Students studying together">
            <a:extLst>
              <a:ext uri="{FF2B5EF4-FFF2-40B4-BE49-F238E27FC236}">
                <a16:creationId xmlns:a16="http://schemas.microsoft.com/office/drawing/2014/main" id="{144AB48D-28F3-524B-8390-708DDF5B5E0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0" cy="427948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B38A26C-B945-214B-B456-ED5F3648FB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80529" y="4715977"/>
            <a:ext cx="2573106" cy="1508126"/>
          </a:xfrm>
          <a:prstGeom prst="rect">
            <a:avLst/>
          </a:prstGeom>
        </p:spPr>
      </p:pic>
      <p:sp>
        <p:nvSpPr>
          <p:cNvPr id="10" name="Logo protection area" hidden="1">
            <a:extLst>
              <a:ext uri="{FF2B5EF4-FFF2-40B4-BE49-F238E27FC236}">
                <a16:creationId xmlns:a16="http://schemas.microsoft.com/office/drawing/2014/main" id="{BB7166C1-A22B-491F-AE5A-B74FFF60E62B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854550" y="4279481"/>
            <a:ext cx="3337450" cy="2578519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11" name="Layout Protection area" hidden="1">
            <a:extLst>
              <a:ext uri="{FF2B5EF4-FFF2-40B4-BE49-F238E27FC236}">
                <a16:creationId xmlns:a16="http://schemas.microsoft.com/office/drawing/2014/main" id="{DF9AD7A8-D406-441C-927E-775709CFB73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-1" y="4279480"/>
            <a:ext cx="8865831" cy="257851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681488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0F3D94A3-E36E-B64B-BB2B-7F3471803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4416964"/>
            <a:ext cx="7931150" cy="2286000"/>
          </a:xfrm>
        </p:spPr>
        <p:txBody>
          <a:bodyPr anchor="ctr" anchorCtr="0"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 descr="Group of people sitting around table in board meeting.">
            <a:extLst>
              <a:ext uri="{FF2B5EF4-FFF2-40B4-BE49-F238E27FC236}">
                <a16:creationId xmlns:a16="http://schemas.microsoft.com/office/drawing/2014/main" id="{2E8F207B-0316-CB4B-B821-D6C928EEAB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8"/>
          <a:stretch/>
        </p:blipFill>
        <p:spPr>
          <a:xfrm>
            <a:off x="0" y="0"/>
            <a:ext cx="12198350" cy="427948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B38A26C-B945-214B-B456-ED5F3648FB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80529" y="4715977"/>
            <a:ext cx="2573106" cy="1508126"/>
          </a:xfrm>
          <a:prstGeom prst="rect">
            <a:avLst/>
          </a:prstGeom>
        </p:spPr>
      </p:pic>
      <p:sp>
        <p:nvSpPr>
          <p:cNvPr id="9" name="Logo protection area" hidden="1">
            <a:extLst>
              <a:ext uri="{FF2B5EF4-FFF2-40B4-BE49-F238E27FC236}">
                <a16:creationId xmlns:a16="http://schemas.microsoft.com/office/drawing/2014/main" id="{3650304B-097F-4A76-99CA-C2F81E8F02F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854550" y="4279481"/>
            <a:ext cx="3337450" cy="2578519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10" name="Layout Protection area" hidden="1">
            <a:extLst>
              <a:ext uri="{FF2B5EF4-FFF2-40B4-BE49-F238E27FC236}">
                <a16:creationId xmlns:a16="http://schemas.microsoft.com/office/drawing/2014/main" id="{DA254E04-6C59-4E89-B42F-650D108F8B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-1" y="4279480"/>
            <a:ext cx="8865831" cy="257851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310129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8865F3A0-7C5E-CB49-ADD8-E331607E0E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4416964"/>
            <a:ext cx="7931150" cy="2286000"/>
          </a:xfrm>
        </p:spPr>
        <p:txBody>
          <a:bodyPr anchor="ctr" anchorCtr="0"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B38A26C-B945-214B-B456-ED5F3648FB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80529" y="4715977"/>
            <a:ext cx="2573106" cy="1508126"/>
          </a:xfrm>
          <a:prstGeom prst="rect">
            <a:avLst/>
          </a:prstGeom>
        </p:spPr>
      </p:pic>
      <p:pic>
        <p:nvPicPr>
          <p:cNvPr id="3" name="Picture 2" descr="Higher ed administration in meeting">
            <a:extLst>
              <a:ext uri="{FF2B5EF4-FFF2-40B4-BE49-F238E27FC236}">
                <a16:creationId xmlns:a16="http://schemas.microsoft.com/office/drawing/2014/main" id="{E0AEBD10-FB45-DD4A-8544-D779E64D1E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0" cy="4279481"/>
          </a:xfrm>
          <a:prstGeom prst="rect">
            <a:avLst/>
          </a:prstGeom>
        </p:spPr>
      </p:pic>
      <p:sp>
        <p:nvSpPr>
          <p:cNvPr id="10" name="Logo protection area" hidden="1">
            <a:extLst>
              <a:ext uri="{FF2B5EF4-FFF2-40B4-BE49-F238E27FC236}">
                <a16:creationId xmlns:a16="http://schemas.microsoft.com/office/drawing/2014/main" id="{1EDF98ED-358F-4FCF-8879-2DE4151B65F4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854550" y="4279481"/>
            <a:ext cx="3337450" cy="2578519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11" name="Layout Protection area" hidden="1">
            <a:extLst>
              <a:ext uri="{FF2B5EF4-FFF2-40B4-BE49-F238E27FC236}">
                <a16:creationId xmlns:a16="http://schemas.microsoft.com/office/drawing/2014/main" id="{51A19E14-678B-467C-A280-9A644973BC5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-1" y="4279480"/>
            <a:ext cx="8865831" cy="257851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50559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D6A756FB-7CB7-8141-8802-BD2CD474D3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4416964"/>
            <a:ext cx="7931150" cy="2286000"/>
          </a:xfrm>
        </p:spPr>
        <p:txBody>
          <a:bodyPr anchor="ctr" anchorCtr="0"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 descr="Woman on tablet in server room">
            <a:extLst>
              <a:ext uri="{FF2B5EF4-FFF2-40B4-BE49-F238E27FC236}">
                <a16:creationId xmlns:a16="http://schemas.microsoft.com/office/drawing/2014/main" id="{C479EB8B-66A3-6C47-AC15-24CFF917C1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427948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B38A26C-B945-214B-B456-ED5F3648FB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80529" y="4715977"/>
            <a:ext cx="2573106" cy="1508126"/>
          </a:xfrm>
          <a:prstGeom prst="rect">
            <a:avLst/>
          </a:prstGeom>
        </p:spPr>
      </p:pic>
      <p:sp>
        <p:nvSpPr>
          <p:cNvPr id="9" name="Logo protection area" hidden="1">
            <a:extLst>
              <a:ext uri="{FF2B5EF4-FFF2-40B4-BE49-F238E27FC236}">
                <a16:creationId xmlns:a16="http://schemas.microsoft.com/office/drawing/2014/main" id="{591ED2EF-BE7D-4EF5-9C10-8808E957FC4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854550" y="4279481"/>
            <a:ext cx="3337450" cy="2578519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10" name="Layout Protection area" hidden="1">
            <a:extLst>
              <a:ext uri="{FF2B5EF4-FFF2-40B4-BE49-F238E27FC236}">
                <a16:creationId xmlns:a16="http://schemas.microsoft.com/office/drawing/2014/main" id="{88C079A8-D641-42F9-A7C8-6042BBB5CCF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-1" y="4279480"/>
            <a:ext cx="8865831" cy="257851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7870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6848AFF4-CEDF-894E-84EC-AF565C5F9D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4416964"/>
            <a:ext cx="7931150" cy="2286000"/>
          </a:xfrm>
        </p:spPr>
        <p:txBody>
          <a:bodyPr anchor="ctr" anchorCtr="0"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 descr="Young woman looking at lines of code on monitor.">
            <a:extLst>
              <a:ext uri="{FF2B5EF4-FFF2-40B4-BE49-F238E27FC236}">
                <a16:creationId xmlns:a16="http://schemas.microsoft.com/office/drawing/2014/main" id="{6A722FF3-F82C-984A-B14E-F8B88A16A3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351" y="-20915"/>
            <a:ext cx="12198351" cy="430039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B38A26C-B945-214B-B456-ED5F3648FB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80529" y="4715977"/>
            <a:ext cx="2573106" cy="1508126"/>
          </a:xfrm>
          <a:prstGeom prst="rect">
            <a:avLst/>
          </a:prstGeom>
        </p:spPr>
      </p:pic>
      <p:sp>
        <p:nvSpPr>
          <p:cNvPr id="9" name="Logo protection area" hidden="1">
            <a:extLst>
              <a:ext uri="{FF2B5EF4-FFF2-40B4-BE49-F238E27FC236}">
                <a16:creationId xmlns:a16="http://schemas.microsoft.com/office/drawing/2014/main" id="{2C5CC1E6-EF3C-4067-BF3E-C92590BD9CE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854550" y="4279481"/>
            <a:ext cx="3337450" cy="2578519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10" name="Layout Protection area" hidden="1">
            <a:extLst>
              <a:ext uri="{FF2B5EF4-FFF2-40B4-BE49-F238E27FC236}">
                <a16:creationId xmlns:a16="http://schemas.microsoft.com/office/drawing/2014/main" id="{E5D5209C-ADD9-4838-B26A-E6B275854F2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-1" y="4279480"/>
            <a:ext cx="8865831" cy="257851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321400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117A7840-A21A-AE43-ABD6-09D85CA50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4416964"/>
            <a:ext cx="7931150" cy="2286000"/>
          </a:xfrm>
        </p:spPr>
        <p:txBody>
          <a:bodyPr anchor="ctr" anchorCtr="0"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 descr="Young men looking at lines of code on monitor">
            <a:extLst>
              <a:ext uri="{FF2B5EF4-FFF2-40B4-BE49-F238E27FC236}">
                <a16:creationId xmlns:a16="http://schemas.microsoft.com/office/drawing/2014/main" id="{0404A7F3-6452-C04C-AADE-82E48E348A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137" y="0"/>
            <a:ext cx="12192000" cy="427948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B38A26C-B945-214B-B456-ED5F3648FB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80529" y="4715977"/>
            <a:ext cx="2573106" cy="1508126"/>
          </a:xfrm>
          <a:prstGeom prst="rect">
            <a:avLst/>
          </a:prstGeom>
        </p:spPr>
      </p:pic>
      <p:sp>
        <p:nvSpPr>
          <p:cNvPr id="9" name="Logo protection area" hidden="1">
            <a:extLst>
              <a:ext uri="{FF2B5EF4-FFF2-40B4-BE49-F238E27FC236}">
                <a16:creationId xmlns:a16="http://schemas.microsoft.com/office/drawing/2014/main" id="{D30238A3-2B99-4062-AC93-6AC9D5F9DE0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854550" y="4279481"/>
            <a:ext cx="3337450" cy="2578519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10" name="Layout Protection area" hidden="1">
            <a:extLst>
              <a:ext uri="{FF2B5EF4-FFF2-40B4-BE49-F238E27FC236}">
                <a16:creationId xmlns:a16="http://schemas.microsoft.com/office/drawing/2014/main" id="{85633BF4-2973-467D-9A12-061BB16C8C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-1" y="4279480"/>
            <a:ext cx="8865831" cy="257851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99213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5190BB4-6234-9641-A7E8-57A4076185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4416964"/>
            <a:ext cx="7931150" cy="2286000"/>
          </a:xfrm>
        </p:spPr>
        <p:txBody>
          <a:bodyPr anchor="ctr" anchorCtr="0"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 descr="Higher ed administrators looking at laptop">
            <a:extLst>
              <a:ext uri="{FF2B5EF4-FFF2-40B4-BE49-F238E27FC236}">
                <a16:creationId xmlns:a16="http://schemas.microsoft.com/office/drawing/2014/main" id="{EDF47490-7F9B-F74E-BF33-EEF87362EA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124" y="0"/>
            <a:ext cx="12200124" cy="427948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B38A26C-B945-214B-B456-ED5F3648FB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80529" y="4715977"/>
            <a:ext cx="2573106" cy="1508126"/>
          </a:xfrm>
          <a:prstGeom prst="rect">
            <a:avLst/>
          </a:prstGeom>
        </p:spPr>
      </p:pic>
      <p:sp>
        <p:nvSpPr>
          <p:cNvPr id="9" name="Logo protection area" hidden="1">
            <a:extLst>
              <a:ext uri="{FF2B5EF4-FFF2-40B4-BE49-F238E27FC236}">
                <a16:creationId xmlns:a16="http://schemas.microsoft.com/office/drawing/2014/main" id="{BEEAE2DC-F661-48D6-BF90-AA3FBE823952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854550" y="4279481"/>
            <a:ext cx="3337450" cy="2578519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10" name="Layout Protection area" hidden="1">
            <a:extLst>
              <a:ext uri="{FF2B5EF4-FFF2-40B4-BE49-F238E27FC236}">
                <a16:creationId xmlns:a16="http://schemas.microsoft.com/office/drawing/2014/main" id="{F1FDA01A-183E-4F93-9C1D-26A55FB049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-1" y="4279480"/>
            <a:ext cx="8865831" cy="257851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067882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459E7F91-7781-B14D-943A-157DD7737E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4416964"/>
            <a:ext cx="7931150" cy="2286000"/>
          </a:xfrm>
        </p:spPr>
        <p:txBody>
          <a:bodyPr anchor="ctr" anchorCtr="0"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D82F5F3-A32A-434D-9667-F63FCE93B67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9938" cy="4279900"/>
          </a:xfrm>
        </p:spPr>
        <p:txBody>
          <a:bodyPr anchor="ctr"/>
          <a:lstStyle>
            <a:lvl1pPr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B38A26C-B945-214B-B456-ED5F3648FB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80529" y="4715977"/>
            <a:ext cx="2573106" cy="1508126"/>
          </a:xfrm>
          <a:prstGeom prst="rect">
            <a:avLst/>
          </a:prstGeom>
        </p:spPr>
      </p:pic>
      <p:sp>
        <p:nvSpPr>
          <p:cNvPr id="9" name="Logo protection area" hidden="1">
            <a:extLst>
              <a:ext uri="{FF2B5EF4-FFF2-40B4-BE49-F238E27FC236}">
                <a16:creationId xmlns:a16="http://schemas.microsoft.com/office/drawing/2014/main" id="{115919A3-082B-4C20-934F-4C8424954A2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8854550" y="4335177"/>
            <a:ext cx="3337450" cy="2522823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10" name="Layout Protection area" hidden="1">
            <a:extLst>
              <a:ext uri="{FF2B5EF4-FFF2-40B4-BE49-F238E27FC236}">
                <a16:creationId xmlns:a16="http://schemas.microsoft.com/office/drawing/2014/main" id="{F950F768-4E54-4847-BC5A-F10E87C1DC8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-1" y="4279480"/>
            <a:ext cx="8865831" cy="257851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834123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¨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6BD8B30-570A-41BC-B76C-CEA2703D39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empos Headline Bold"/>
                <a:ea typeface="+mn-ea"/>
                <a:cs typeface="+mn-cs"/>
              </a:rPr>
              <a:t>Log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empos Headline Bold"/>
                <a:ea typeface="+mn-ea"/>
                <a:cs typeface="+mn-cs"/>
              </a:rPr>
              <a:t> Layout</a:t>
            </a:r>
          </a:p>
        </p:txBody>
      </p:sp>
    </p:spTree>
    <p:extLst>
      <p:ext uri="{BB962C8B-B14F-4D97-AF65-F5344CB8AC3E}">
        <p14:creationId xmlns:p14="http://schemas.microsoft.com/office/powerpoint/2010/main" val="17668954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Prese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8F289818-772D-A140-AA34-CF35FE3184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3322" y="3523433"/>
            <a:ext cx="2000777" cy="233710"/>
          </a:xfrm>
        </p:spPr>
        <p:txBody>
          <a:bodyPr anchor="b" anchorCtr="0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050" b="0" i="0" spc="0">
                <a:latin typeface="+mj-lt"/>
                <a:ea typeface="Roboto Medium" panose="02000000000000000000" pitchFamily="2" charset="0"/>
                <a:cs typeface="Roboto Medium" panose="02000000000000000000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B4C7420B-45DC-474D-99FE-866DCAFF65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3322" y="3850846"/>
            <a:ext cx="2000778" cy="1236953"/>
          </a:xfrm>
        </p:spPr>
        <p:txBody>
          <a:bodyPr anchor="t" anchorCtr="0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050" b="0" i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Text Placeholder 8">
            <a:extLst>
              <a:ext uri="{FF2B5EF4-FFF2-40B4-BE49-F238E27FC236}">
                <a16:creationId xmlns:a16="http://schemas.microsoft.com/office/drawing/2014/main" id="{CB2EA48A-5A8C-004D-9148-321D181E87A9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2864591" y="3523433"/>
            <a:ext cx="2000777" cy="233710"/>
          </a:xfrm>
        </p:spPr>
        <p:txBody>
          <a:bodyPr anchor="b" anchorCtr="0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050" b="0" i="0" spc="0">
                <a:latin typeface="+mj-lt"/>
                <a:ea typeface="Roboto Medium" panose="02000000000000000000" pitchFamily="2" charset="0"/>
                <a:cs typeface="Roboto Medium" panose="02000000000000000000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7" name="Text Placeholder 10">
            <a:extLst>
              <a:ext uri="{FF2B5EF4-FFF2-40B4-BE49-F238E27FC236}">
                <a16:creationId xmlns:a16="http://schemas.microsoft.com/office/drawing/2014/main" id="{62B66B57-9E76-FE46-AE93-5052CF80EA0A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2864590" y="3850846"/>
            <a:ext cx="2000778" cy="1236953"/>
          </a:xfrm>
        </p:spPr>
        <p:txBody>
          <a:bodyPr anchor="t" anchorCtr="0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050" b="0" i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4" name="Text Placeholder 8">
            <a:extLst>
              <a:ext uri="{FF2B5EF4-FFF2-40B4-BE49-F238E27FC236}">
                <a16:creationId xmlns:a16="http://schemas.microsoft.com/office/drawing/2014/main" id="{FDCE6314-08C7-6F4A-AD03-B6D0035AE028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095611" y="3523433"/>
            <a:ext cx="2000777" cy="233710"/>
          </a:xfrm>
        </p:spPr>
        <p:txBody>
          <a:bodyPr anchor="b" anchorCtr="0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050" b="0" i="0" spc="0">
                <a:latin typeface="+mj-lt"/>
                <a:ea typeface="Roboto Medium" panose="02000000000000000000" pitchFamily="2" charset="0"/>
                <a:cs typeface="Roboto Medium" panose="02000000000000000000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8" name="Text Placeholder 10">
            <a:extLst>
              <a:ext uri="{FF2B5EF4-FFF2-40B4-BE49-F238E27FC236}">
                <a16:creationId xmlns:a16="http://schemas.microsoft.com/office/drawing/2014/main" id="{C5B975A1-52C3-F94D-8A4D-2FDA2DC624E6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095611" y="3850846"/>
            <a:ext cx="2000778" cy="1236953"/>
          </a:xfrm>
        </p:spPr>
        <p:txBody>
          <a:bodyPr anchor="t" anchorCtr="0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050" b="0" i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5" name="Text Placeholder 8">
            <a:extLst>
              <a:ext uri="{FF2B5EF4-FFF2-40B4-BE49-F238E27FC236}">
                <a16:creationId xmlns:a16="http://schemas.microsoft.com/office/drawing/2014/main" id="{20A4B62D-41EA-E345-863D-40A2902035A0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7326631" y="3523433"/>
            <a:ext cx="2000777" cy="233710"/>
          </a:xfrm>
        </p:spPr>
        <p:txBody>
          <a:bodyPr anchor="b" anchorCtr="0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050" b="0" i="0" spc="0">
                <a:latin typeface="+mj-lt"/>
                <a:ea typeface="Roboto Medium" panose="02000000000000000000" pitchFamily="2" charset="0"/>
                <a:cs typeface="Roboto Medium" panose="02000000000000000000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9" name="Text Placeholder 10">
            <a:extLst>
              <a:ext uri="{FF2B5EF4-FFF2-40B4-BE49-F238E27FC236}">
                <a16:creationId xmlns:a16="http://schemas.microsoft.com/office/drawing/2014/main" id="{D42ADD9A-621F-7247-B780-6EDD49D44453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7326631" y="3850846"/>
            <a:ext cx="2000778" cy="1236953"/>
          </a:xfrm>
        </p:spPr>
        <p:txBody>
          <a:bodyPr anchor="t" anchorCtr="0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050" b="0" i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6" name="Text Placeholder 8">
            <a:extLst>
              <a:ext uri="{FF2B5EF4-FFF2-40B4-BE49-F238E27FC236}">
                <a16:creationId xmlns:a16="http://schemas.microsoft.com/office/drawing/2014/main" id="{6EF69F42-5B16-764C-ABEC-656071AA5E54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9537404" y="3523433"/>
            <a:ext cx="2000777" cy="233710"/>
          </a:xfrm>
        </p:spPr>
        <p:txBody>
          <a:bodyPr anchor="b" anchorCtr="0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050" b="0" i="0" spc="0">
                <a:latin typeface="+mj-lt"/>
                <a:ea typeface="Roboto Medium" panose="02000000000000000000" pitchFamily="2" charset="0"/>
                <a:cs typeface="Roboto Medium" panose="02000000000000000000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0" name="Text Placeholder 10">
            <a:extLst>
              <a:ext uri="{FF2B5EF4-FFF2-40B4-BE49-F238E27FC236}">
                <a16:creationId xmlns:a16="http://schemas.microsoft.com/office/drawing/2014/main" id="{75114EBA-98DD-BC43-87E9-B2AC955C1C16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9537403" y="3850846"/>
            <a:ext cx="2000778" cy="1236953"/>
          </a:xfrm>
        </p:spPr>
        <p:txBody>
          <a:bodyPr anchor="t" anchorCtr="0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sz="1050" b="0" i="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9A5FF8A-2A79-834F-AA61-B9064AD947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94511" y="1971704"/>
            <a:ext cx="1438401" cy="138991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F3E8339-4363-CC4D-95C6-84C44C28C0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85049" y="1971704"/>
            <a:ext cx="1388358" cy="138991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unito Sans Light" pitchFamily="2" charset="77"/>
                <a:ea typeface="+mn-ea"/>
                <a:cs typeface="+mn-cs"/>
              </a:rPr>
              <a:t> 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209960D-E04E-7245-B83B-5A9EBED26D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077573" y="2865094"/>
            <a:ext cx="12033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 pitchFamily="2" charset="77"/>
                <a:ea typeface="Roboto Medium" panose="02000000000000000000" pitchFamily="2" charset="0"/>
                <a:cs typeface="Roboto Medium" panose="02000000000000000000" pitchFamily="2" charset="0"/>
              </a:rPr>
              <a:t>Headshot</a:t>
            </a:r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6E67699B-DAED-7447-94E4-3848170F02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85067" y="1971704"/>
            <a:ext cx="1388340" cy="1389915"/>
          </a:xfrm>
        </p:spPr>
        <p:txBody>
          <a:bodyPr tIns="274320">
            <a:normAutofit/>
          </a:bodyPr>
          <a:lstStyle>
            <a:lvl1pPr algn="l">
              <a:buNone/>
              <a:defRPr sz="1600" b="0" i="0"/>
            </a:lvl1pPr>
          </a:lstStyle>
          <a:p>
            <a:r>
              <a:rPr lang="en-US" dirty="0"/>
              <a:t>Click icon to insert image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BEB3AC85-24F5-3448-801A-459806AA7A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125532" y="1971704"/>
            <a:ext cx="1438401" cy="138991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6494591-A676-8E4B-8FA0-519B8006B1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216070" y="1971704"/>
            <a:ext cx="1388358" cy="138991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unito Sans Light" pitchFamily="2" charset="77"/>
                <a:ea typeface="+mn-ea"/>
                <a:cs typeface="+mn-cs"/>
              </a:rPr>
              <a:t>  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D908107C-7DF1-5C4B-97F4-FBF100ACC3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3308594" y="2865094"/>
            <a:ext cx="12033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 pitchFamily="2" charset="77"/>
                <a:ea typeface="Roboto Medium" panose="02000000000000000000" pitchFamily="2" charset="0"/>
                <a:cs typeface="Roboto Medium" panose="02000000000000000000" pitchFamily="2" charset="0"/>
              </a:rPr>
              <a:t>Headshot</a:t>
            </a:r>
          </a:p>
        </p:txBody>
      </p:sp>
      <p:sp>
        <p:nvSpPr>
          <p:cNvPr id="61" name="Picture Placeholder 5">
            <a:extLst>
              <a:ext uri="{FF2B5EF4-FFF2-40B4-BE49-F238E27FC236}">
                <a16:creationId xmlns:a16="http://schemas.microsoft.com/office/drawing/2014/main" id="{00FA298A-B5DE-5D4D-AAB2-AB9B53D4C0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216088" y="1971704"/>
            <a:ext cx="1388340" cy="1389915"/>
          </a:xfrm>
        </p:spPr>
        <p:txBody>
          <a:bodyPr tIns="274320">
            <a:normAutofit/>
          </a:bodyPr>
          <a:lstStyle>
            <a:lvl1pPr algn="l">
              <a:buNone/>
              <a:defRPr sz="1600" b="0" i="0"/>
            </a:lvl1pPr>
          </a:lstStyle>
          <a:p>
            <a:r>
              <a:rPr lang="en-US" dirty="0"/>
              <a:t>Click icon to insert image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1C5CAF47-42B2-D848-B18D-083B417F93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356553" y="1971704"/>
            <a:ext cx="1438401" cy="138991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1DE165C1-6688-C74B-A7AE-C33910AD2D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447091" y="1971704"/>
            <a:ext cx="1388358" cy="138991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unito Sans Light" pitchFamily="2" charset="77"/>
                <a:ea typeface="+mn-ea"/>
                <a:cs typeface="+mn-cs"/>
              </a:rPr>
              <a:t>  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A5B5DF76-3DE5-164A-B744-57EB295A3A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5539615" y="2865094"/>
            <a:ext cx="12033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 pitchFamily="2" charset="77"/>
                <a:ea typeface="Roboto Medium" panose="02000000000000000000" pitchFamily="2" charset="0"/>
                <a:cs typeface="Roboto Medium" panose="02000000000000000000" pitchFamily="2" charset="0"/>
              </a:rPr>
              <a:t>Headshot</a:t>
            </a:r>
          </a:p>
        </p:txBody>
      </p:sp>
      <p:sp>
        <p:nvSpPr>
          <p:cNvPr id="69" name="Picture Placeholder 5">
            <a:extLst>
              <a:ext uri="{FF2B5EF4-FFF2-40B4-BE49-F238E27FC236}">
                <a16:creationId xmlns:a16="http://schemas.microsoft.com/office/drawing/2014/main" id="{1BF0B029-6B37-6948-B00B-A93E4678B4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447109" y="1971704"/>
            <a:ext cx="1388340" cy="1389915"/>
          </a:xfrm>
        </p:spPr>
        <p:txBody>
          <a:bodyPr tIns="274320">
            <a:normAutofit/>
          </a:bodyPr>
          <a:lstStyle>
            <a:lvl1pPr algn="l">
              <a:buNone/>
              <a:defRPr sz="1600" b="0" i="0"/>
            </a:lvl1pPr>
          </a:lstStyle>
          <a:p>
            <a:r>
              <a:rPr lang="en-US" dirty="0"/>
              <a:t>Click icon to insert image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716327FE-2184-EE40-836E-5F5AFA32CB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587574" y="1971704"/>
            <a:ext cx="1438401" cy="138991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E3F2B607-5789-E241-B945-CE9100C859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678112" y="1971704"/>
            <a:ext cx="1388358" cy="138991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unito Sans Light" pitchFamily="2" charset="77"/>
                <a:ea typeface="+mn-ea"/>
                <a:cs typeface="+mn-cs"/>
              </a:rPr>
              <a:t>  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84242492-123C-1F48-A1D3-7A37A00F77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7770636" y="2865094"/>
            <a:ext cx="12033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 pitchFamily="2" charset="77"/>
                <a:ea typeface="Roboto Medium" panose="02000000000000000000" pitchFamily="2" charset="0"/>
                <a:cs typeface="Roboto Medium" panose="02000000000000000000" pitchFamily="2" charset="0"/>
              </a:rPr>
              <a:t>Headshot</a:t>
            </a:r>
          </a:p>
        </p:txBody>
      </p:sp>
      <p:sp>
        <p:nvSpPr>
          <p:cNvPr id="73" name="Picture Placeholder 5">
            <a:extLst>
              <a:ext uri="{FF2B5EF4-FFF2-40B4-BE49-F238E27FC236}">
                <a16:creationId xmlns:a16="http://schemas.microsoft.com/office/drawing/2014/main" id="{6D896273-5900-2C44-BC1D-CF5886E654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678130" y="1971704"/>
            <a:ext cx="1388340" cy="1389915"/>
          </a:xfrm>
        </p:spPr>
        <p:txBody>
          <a:bodyPr tIns="274320">
            <a:normAutofit/>
          </a:bodyPr>
          <a:lstStyle>
            <a:lvl1pPr algn="l">
              <a:buNone/>
              <a:defRPr sz="1600" b="0" i="0"/>
            </a:lvl1pPr>
          </a:lstStyle>
          <a:p>
            <a:r>
              <a:rPr lang="en-US" dirty="0"/>
              <a:t>Click icon to insert image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840C5FB2-7EB5-E34F-8322-AAB139C495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818593" y="1971704"/>
            <a:ext cx="1438401" cy="138991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1EF815E3-8C8B-FE4F-A317-C952479DDE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909131" y="1971704"/>
            <a:ext cx="1388358" cy="138991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Nunito Sans Light" pitchFamily="2" charset="77"/>
                <a:ea typeface="+mn-ea"/>
                <a:cs typeface="+mn-cs"/>
              </a:rPr>
              <a:t>  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07753AE5-B0F4-C248-A857-CA8A9C6035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0001655" y="2865094"/>
            <a:ext cx="12033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 pitchFamily="2" charset="77"/>
                <a:ea typeface="Roboto Medium" panose="02000000000000000000" pitchFamily="2" charset="0"/>
                <a:cs typeface="Roboto Medium" panose="02000000000000000000" pitchFamily="2" charset="0"/>
              </a:rPr>
              <a:t>Headshot</a:t>
            </a:r>
          </a:p>
        </p:txBody>
      </p:sp>
      <p:sp>
        <p:nvSpPr>
          <p:cNvPr id="77" name="Picture Placeholder 5">
            <a:extLst>
              <a:ext uri="{FF2B5EF4-FFF2-40B4-BE49-F238E27FC236}">
                <a16:creationId xmlns:a16="http://schemas.microsoft.com/office/drawing/2014/main" id="{5F9D3E25-4DFC-AD4B-B853-A29B192AC4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9909149" y="1971704"/>
            <a:ext cx="1388340" cy="1389915"/>
          </a:xfrm>
        </p:spPr>
        <p:txBody>
          <a:bodyPr tIns="274320">
            <a:normAutofit/>
          </a:bodyPr>
          <a:lstStyle>
            <a:lvl1pPr algn="l">
              <a:buNone/>
              <a:defRPr sz="1600" b="0" i="0"/>
            </a:lvl1pPr>
          </a:lstStyle>
          <a:p>
            <a:r>
              <a:rPr lang="en-US" dirty="0"/>
              <a:t>Click icon to insert image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BEC7E80B-BEA4-402F-83AA-50D9834C817E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77AA6E6C-BB3E-E94D-B480-811E6A5390FE}" type="datetime1">
              <a:rPr lang="en-US" smtClean="0"/>
              <a:pPr/>
              <a:t>4/20/2021</a:t>
            </a:fld>
            <a:endParaRPr lang="en-US" dirty="0"/>
          </a:p>
        </p:txBody>
      </p:sp>
      <p:sp>
        <p:nvSpPr>
          <p:cNvPr id="6" name="Footer Placeholder 5" hidden="1">
            <a:extLst>
              <a:ext uri="{FF2B5EF4-FFF2-40B4-BE49-F238E27FC236}">
                <a16:creationId xmlns:a16="http://schemas.microsoft.com/office/drawing/2014/main" id="{65FAC813-B34C-46E5-BA68-FE76BFC664A6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35" name="Logo protection area" hidden="1">
            <a:extLst>
              <a:ext uri="{FF2B5EF4-FFF2-40B4-BE49-F238E27FC236}">
                <a16:creationId xmlns:a16="http://schemas.microsoft.com/office/drawing/2014/main" id="{564446E9-E40E-2342-B36D-036BB73F701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6186276"/>
            <a:ext cx="12192000" cy="67172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36" name="Layout protection area" hidden="1">
            <a:extLst>
              <a:ext uri="{FF2B5EF4-FFF2-40B4-BE49-F238E27FC236}">
                <a16:creationId xmlns:a16="http://schemas.microsoft.com/office/drawing/2014/main" id="{48F1E829-16A3-E245-8124-E76284D8D3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176098" cy="604361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380CA8-A72A-4D2A-9CC8-3A5723A3AB1D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7F9396FD-A8D2-5548-97AD-44EE9AACF1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2503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nthology Logo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nthology logo">
            <a:extLst>
              <a:ext uri="{FF2B5EF4-FFF2-40B4-BE49-F238E27FC236}">
                <a16:creationId xmlns:a16="http://schemas.microsoft.com/office/drawing/2014/main" id="{16A7D450-E098-EC48-B53F-BC26827E3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2633"/>
          <a:stretch/>
        </p:blipFill>
        <p:spPr>
          <a:xfrm>
            <a:off x="3841426" y="3004456"/>
            <a:ext cx="4509148" cy="125185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7FFBD67-5089-6441-9B9C-EDAB86D1FF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7367"/>
          <a:stretch/>
        </p:blipFill>
        <p:spPr>
          <a:xfrm>
            <a:off x="3841426" y="1613452"/>
            <a:ext cx="4509148" cy="1391005"/>
          </a:xfrm>
          <a:prstGeom prst="rect">
            <a:avLst/>
          </a:prstGeom>
        </p:spPr>
      </p:pic>
      <p:sp>
        <p:nvSpPr>
          <p:cNvPr id="6" name="Layout Protection area" hidden="1">
            <a:extLst>
              <a:ext uri="{FF2B5EF4-FFF2-40B4-BE49-F238E27FC236}">
                <a16:creationId xmlns:a16="http://schemas.microsoft.com/office/drawing/2014/main" id="{7F434C8B-15FC-4FFB-9309-BA7C564C26C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-1" y="4436076"/>
            <a:ext cx="12192001" cy="242192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18484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¨  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6BD8B30-570A-41BC-B76C-CEA2703D39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empos Headline Bold"/>
                <a:ea typeface="+mn-ea"/>
                <a:cs typeface="+mn-cs"/>
              </a:rPr>
              <a:t>Do not use slide layouts after this</a:t>
            </a:r>
          </a:p>
        </p:txBody>
      </p:sp>
    </p:spTree>
    <p:extLst>
      <p:ext uri="{BB962C8B-B14F-4D97-AF65-F5344CB8AC3E}">
        <p14:creationId xmlns:p14="http://schemas.microsoft.com/office/powerpoint/2010/main" val="9414525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- Non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9A9D20-B7D2-0A40-A263-FD2D0E2A77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600200"/>
            <a:ext cx="10789920" cy="4434840"/>
          </a:xfr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1000"/>
              </a:spcBef>
              <a:buClr>
                <a:schemeClr val="accent4"/>
              </a:buClr>
              <a:buFont typeface="Nunito Sans Light" panose="00000400000000000000" pitchFamily="2" charset="0"/>
              <a:buChar char="​"/>
              <a:defRPr b="0" i="0">
                <a:latin typeface="+mn-lt"/>
              </a:defRPr>
            </a:lvl1pPr>
            <a:lvl2pPr indent="-228600">
              <a:lnSpc>
                <a:spcPct val="110000"/>
              </a:lnSpc>
              <a:spcBef>
                <a:spcPts val="500"/>
              </a:spcBef>
              <a:defRPr b="0" i="0">
                <a:latin typeface="+mn-lt"/>
              </a:defRPr>
            </a:lvl2pPr>
            <a:lvl3pPr indent="-228600">
              <a:lnSpc>
                <a:spcPct val="110000"/>
              </a:lnSpc>
              <a:spcBef>
                <a:spcPts val="500"/>
              </a:spcBef>
              <a:defRPr b="0" i="0">
                <a:latin typeface="+mn-lt"/>
              </a:defRPr>
            </a:lvl3pPr>
            <a:lvl4pPr indent="-228600">
              <a:lnSpc>
                <a:spcPct val="110000"/>
              </a:lnSpc>
              <a:spcBef>
                <a:spcPts val="500"/>
              </a:spcBef>
              <a:defRPr b="0" i="0">
                <a:latin typeface="+mn-lt"/>
              </a:defRPr>
            </a:lvl4pPr>
            <a:lvl5pPr indent="-228600">
              <a:lnSpc>
                <a:spcPct val="110000"/>
              </a:lnSpc>
              <a:spcBef>
                <a:spcPts val="500"/>
              </a:spcBef>
              <a:defRPr b="0" i="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398E1AFB-3C62-4F20-A5EF-D17A9D02EB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9A6C3015-1CAE-4290-82A3-403383188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7" name="Logo protection area" hidden="1">
            <a:extLst>
              <a:ext uri="{FF2B5EF4-FFF2-40B4-BE49-F238E27FC236}">
                <a16:creationId xmlns:a16="http://schemas.microsoft.com/office/drawing/2014/main" id="{4986A9EF-557A-4CBE-995E-3069D63BBED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6186276"/>
            <a:ext cx="12192000" cy="67172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9" name="Layout Protection area" hidden="1">
            <a:extLst>
              <a:ext uri="{FF2B5EF4-FFF2-40B4-BE49-F238E27FC236}">
                <a16:creationId xmlns:a16="http://schemas.microsoft.com/office/drawing/2014/main" id="{591B233F-3F23-4C8F-BC23-D8E55EF116D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664420" y="1572242"/>
            <a:ext cx="10841780" cy="4499637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B3F4153E-D7F9-4B09-B749-558008B57C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9396FD-A8D2-5548-97AD-44EE9AACF15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Roboto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unito Sans Light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82413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- Non Bulle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9A9D20-B7D2-0A40-A263-FD2D0E2A77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600200"/>
            <a:ext cx="10789920" cy="4434840"/>
          </a:xfr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1000"/>
              </a:spcBef>
              <a:buClr>
                <a:schemeClr val="accent4"/>
              </a:buClr>
              <a:buFont typeface="Nunito Sans Light" panose="00000400000000000000" pitchFamily="2" charset="0"/>
              <a:buChar char="​"/>
              <a:defRPr b="0" i="0"/>
            </a:lvl1pPr>
            <a:lvl2pPr indent="-228600">
              <a:lnSpc>
                <a:spcPct val="110000"/>
              </a:lnSpc>
              <a:spcBef>
                <a:spcPts val="500"/>
              </a:spcBef>
              <a:defRPr b="0" i="0"/>
            </a:lvl2pPr>
            <a:lvl3pPr indent="-228600">
              <a:lnSpc>
                <a:spcPct val="110000"/>
              </a:lnSpc>
              <a:spcBef>
                <a:spcPts val="500"/>
              </a:spcBef>
              <a:defRPr b="0" i="0"/>
            </a:lvl3pPr>
            <a:lvl4pPr indent="-228600">
              <a:lnSpc>
                <a:spcPct val="110000"/>
              </a:lnSpc>
              <a:spcBef>
                <a:spcPts val="500"/>
              </a:spcBef>
              <a:defRPr b="0" i="0"/>
            </a:lvl4pPr>
            <a:lvl5pPr indent="-228600">
              <a:lnSpc>
                <a:spcPct val="110000"/>
              </a:lnSpc>
              <a:spcBef>
                <a:spcPts val="500"/>
              </a:spcBef>
              <a:defRPr b="0" i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720C0D47-1CC2-754B-A523-1B956CB2F3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FC63ABB2-39B0-DE4F-956C-7B510C56AF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7" name="Layout Protection area" hidden="1">
            <a:extLst>
              <a:ext uri="{FF2B5EF4-FFF2-40B4-BE49-F238E27FC236}">
                <a16:creationId xmlns:a16="http://schemas.microsoft.com/office/drawing/2014/main" id="{4DC7E974-E6F3-4CB5-8D56-D8D1157C0E73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664420" y="1572242"/>
            <a:ext cx="10841780" cy="4499637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9" name="Logo protection area" hidden="1">
            <a:extLst>
              <a:ext uri="{FF2B5EF4-FFF2-40B4-BE49-F238E27FC236}">
                <a16:creationId xmlns:a16="http://schemas.microsoft.com/office/drawing/2014/main" id="{FF6DCC66-8529-4515-A2A6-FC5326C4A9C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6186276"/>
            <a:ext cx="12192000" cy="67172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465858-F858-7244-80D8-C8C8C6C871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9396FD-A8D2-5548-97AD-44EE9AACF15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Roboto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unito Sans Light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38723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40BC00B-1F8B-8D4C-8C4C-F0A9E41B6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4F098D9-3D9E-44F4-93BC-2D2A6DDFE05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85800" y="1600200"/>
            <a:ext cx="10790238" cy="44434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8153539E-D099-44E0-AC29-B74CC82B36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E2E13BFE-6D61-497B-A0E4-FA06616A42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10" name="Logo protection area" hidden="1">
            <a:extLst>
              <a:ext uri="{FF2B5EF4-FFF2-40B4-BE49-F238E27FC236}">
                <a16:creationId xmlns:a16="http://schemas.microsoft.com/office/drawing/2014/main" id="{7260B781-E1A9-4555-BAEE-99144EF1DCD7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6186276"/>
            <a:ext cx="12192000" cy="67172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12" name="Layout Protection area" hidden="1">
            <a:extLst>
              <a:ext uri="{FF2B5EF4-FFF2-40B4-BE49-F238E27FC236}">
                <a16:creationId xmlns:a16="http://schemas.microsoft.com/office/drawing/2014/main" id="{381E4F0A-A432-4918-9B69-F5EA1B24858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664420" y="1572242"/>
            <a:ext cx="10841780" cy="4499637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674D08F-C59E-41EA-9DED-3ACD8C909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9396FD-A8D2-5548-97AD-44EE9AACF15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Roboto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unito Sans Light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19398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44F6A0-CD6C-4118-91A6-B02DD0FEE6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91162"/>
            <a:ext cx="10789920" cy="10804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Left">
            <a:extLst>
              <a:ext uri="{FF2B5EF4-FFF2-40B4-BE49-F238E27FC236}">
                <a16:creationId xmlns:a16="http://schemas.microsoft.com/office/drawing/2014/main" id="{7310F0D2-09AC-4753-AE61-EE8BA4D96F8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5800" y="1600200"/>
            <a:ext cx="5334000" cy="44434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Right">
            <a:extLst>
              <a:ext uri="{FF2B5EF4-FFF2-40B4-BE49-F238E27FC236}">
                <a16:creationId xmlns:a16="http://schemas.microsoft.com/office/drawing/2014/main" id="{15B4EB53-44E1-48E6-B9D5-29246AE946F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41720" y="1600200"/>
            <a:ext cx="5334000" cy="44434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57C3BC0D-8F24-4CEB-9CFE-3F84BC0205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6" name="Footer Placeholder 5" hidden="1">
            <a:extLst>
              <a:ext uri="{FF2B5EF4-FFF2-40B4-BE49-F238E27FC236}">
                <a16:creationId xmlns:a16="http://schemas.microsoft.com/office/drawing/2014/main" id="{77FF5272-A131-4E4C-98AB-E45445A4B8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8" name="Logo protection area" hidden="1">
            <a:extLst>
              <a:ext uri="{FF2B5EF4-FFF2-40B4-BE49-F238E27FC236}">
                <a16:creationId xmlns:a16="http://schemas.microsoft.com/office/drawing/2014/main" id="{7F0E1CC4-A301-4314-A480-F973130C9E7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6186276"/>
            <a:ext cx="12192000" cy="67172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9" name="Layout Protection area" hidden="1">
            <a:extLst>
              <a:ext uri="{FF2B5EF4-FFF2-40B4-BE49-F238E27FC236}">
                <a16:creationId xmlns:a16="http://schemas.microsoft.com/office/drawing/2014/main" id="{2F7EEDD2-E625-4C39-B575-2F5B67C584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664420" y="1572242"/>
            <a:ext cx="10841780" cy="4499637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A0FD988-5FC7-45C9-9B14-D9DD7353B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D34398-B1E2-43C1-9165-889316B49F6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Roboto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unito Sans Light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09146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0810EF0-4CB8-964F-AE51-39CF6655E0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91162"/>
            <a:ext cx="10789920" cy="10804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351701-6250-7745-B079-6BAA93D064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5800" y="1600200"/>
            <a:ext cx="10789920" cy="44362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FD3209-5A9B-C840-9D6E-1836DEE0C6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7586" y="291162"/>
            <a:ext cx="38606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9396FD-A8D2-5548-97AD-44EE9AACF15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unito Sans Light"/>
                <a:ea typeface="Roboto" panose="020000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unito Sans Light"/>
              <a:ea typeface="Roboto" panose="02000000000000000000" pitchFamily="2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090BEE-877E-1649-BC36-FB80838694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176963"/>
            <a:ext cx="12192000" cy="6810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8AF09E8-AA19-E84D-882D-C78E178E9E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5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4348" y="6328965"/>
            <a:ext cx="1511583" cy="377031"/>
          </a:xfrm>
          <a:prstGeom prst="rect">
            <a:avLst/>
          </a:prstGeom>
        </p:spPr>
      </p:pic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8FA44120-793C-8C4C-B780-FACF6C3A35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061298" y="6858000"/>
            <a:ext cx="4114800" cy="1311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 b="0" i="0">
                <a:solidFill>
                  <a:schemeClr val="tx1">
                    <a:tint val="75000"/>
                  </a:schemeClr>
                </a:solidFill>
                <a:latin typeface="Nunito Sans Light" pitchFamily="2" charset="77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75FA2543-75A7-3243-8AC3-D6E08DCD6E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67312"/>
            <a:ext cx="2743200" cy="1311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b="0" i="0">
                <a:solidFill>
                  <a:schemeClr val="tx1">
                    <a:tint val="75000"/>
                  </a:schemeClr>
                </a:solidFill>
                <a:latin typeface="Nunito Sans Light" pitchFamily="2" charset="77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Nunito Sans Light" pitchFamily="2" charset="77"/>
              <a:ea typeface="+mn-ea"/>
              <a:cs typeface="+mn-cs"/>
            </a:endParaRPr>
          </a:p>
        </p:txBody>
      </p:sp>
      <p:sp>
        <p:nvSpPr>
          <p:cNvPr id="7" name="empower - DO NOT DELETE!!!" hidden="1">
            <a:extLst>
              <a:ext uri="{FF2B5EF4-FFF2-40B4-BE49-F238E27FC236}">
                <a16:creationId xmlns:a16="http://schemas.microsoft.com/office/drawing/2014/main" id="{9B191021-DD9D-4D72-8BC8-0861352064C2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unito Sans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6618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705" r:id="rId2"/>
    <p:sldLayoutId id="2147483706" r:id="rId3"/>
    <p:sldLayoutId id="2147483710" r:id="rId4"/>
    <p:sldLayoutId id="2147483711" r:id="rId5"/>
    <p:sldLayoutId id="2147483663" r:id="rId6"/>
    <p:sldLayoutId id="2147483664" r:id="rId7"/>
    <p:sldLayoutId id="2147483665" r:id="rId8"/>
    <p:sldLayoutId id="2147483666" r:id="rId9"/>
    <p:sldLayoutId id="2147483667" r:id="rId10"/>
    <p:sldLayoutId id="2147483701" r:id="rId11"/>
    <p:sldLayoutId id="2147483669" r:id="rId12"/>
    <p:sldLayoutId id="2147483670" r:id="rId13"/>
    <p:sldLayoutId id="2147483702" r:id="rId14"/>
    <p:sldLayoutId id="2147483703" r:id="rId15"/>
    <p:sldLayoutId id="2147483671" r:id="rId16"/>
    <p:sldLayoutId id="2147483672" r:id="rId17"/>
    <p:sldLayoutId id="2147483673" r:id="rId18"/>
    <p:sldLayoutId id="2147483674" r:id="rId19"/>
    <p:sldLayoutId id="2147483712" r:id="rId20"/>
    <p:sldLayoutId id="2147483675" r:id="rId21"/>
    <p:sldLayoutId id="2147483676" r:id="rId22"/>
    <p:sldLayoutId id="2147483708" r:id="rId23"/>
    <p:sldLayoutId id="2147483707" r:id="rId24"/>
    <p:sldLayoutId id="2147483709" r:id="rId25"/>
    <p:sldLayoutId id="2147483677" r:id="rId26"/>
    <p:sldLayoutId id="2147483678" r:id="rId27"/>
    <p:sldLayoutId id="2147483679" r:id="rId28"/>
    <p:sldLayoutId id="2147483680" r:id="rId29"/>
    <p:sldLayoutId id="2147483681" r:id="rId30"/>
    <p:sldLayoutId id="2147483682" r:id="rId31"/>
    <p:sldLayoutId id="2147483683" r:id="rId32"/>
    <p:sldLayoutId id="2147483684" r:id="rId33"/>
    <p:sldLayoutId id="2147483685" r:id="rId34"/>
    <p:sldLayoutId id="2147483704" r:id="rId35"/>
    <p:sldLayoutId id="2147483686" r:id="rId36"/>
    <p:sldLayoutId id="2147483687" r:id="rId37"/>
    <p:sldLayoutId id="2147483688" r:id="rId38"/>
    <p:sldLayoutId id="2147483689" r:id="rId39"/>
    <p:sldLayoutId id="2147483661" r:id="rId40"/>
    <p:sldLayoutId id="2147483690" r:id="rId41"/>
    <p:sldLayoutId id="2147483691" r:id="rId42"/>
    <p:sldLayoutId id="2147483692" r:id="rId43"/>
    <p:sldLayoutId id="2147483693" r:id="rId44"/>
    <p:sldLayoutId id="2147483694" r:id="rId45"/>
    <p:sldLayoutId id="2147483695" r:id="rId46"/>
    <p:sldLayoutId id="2147483696" r:id="rId47"/>
    <p:sldLayoutId id="2147483697" r:id="rId48"/>
    <p:sldLayoutId id="2147483698" r:id="rId49"/>
    <p:sldLayoutId id="2147483699" r:id="rId50"/>
    <p:sldLayoutId id="2147483700" r:id="rId5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 spc="0" baseline="0">
          <a:solidFill>
            <a:schemeClr val="tx1"/>
          </a:solidFill>
          <a:latin typeface="+mj-lt"/>
          <a:ea typeface="Roboto Slab Light" pitchFamily="2" charset="0"/>
          <a:cs typeface="+mj-cs"/>
        </a:defRPr>
      </a:lvl1pPr>
    </p:titleStyle>
    <p:bodyStyle>
      <a:lvl1pPr marL="230188" indent="-230188" algn="l" defTabSz="914400" rtl="0" eaLnBrk="1" latinLnBrk="0" hangingPunct="1">
        <a:lnSpc>
          <a:spcPct val="110000"/>
        </a:lnSpc>
        <a:spcBef>
          <a:spcPts val="1000"/>
        </a:spcBef>
        <a:buClr>
          <a:schemeClr val="accent4"/>
        </a:buClr>
        <a:buSzPct val="120000"/>
        <a:buFont typeface="Arial" panose="020B0604020202020204" pitchFamily="34" charset="0"/>
        <a:buChar char="•"/>
        <a:tabLst/>
        <a:defRPr sz="2000" b="0" i="0" kern="1200" spc="-40" baseline="0">
          <a:solidFill>
            <a:schemeClr val="tx1"/>
          </a:solidFill>
          <a:latin typeface="+mn-lt"/>
          <a:ea typeface="Roboto Light" panose="02000000000000000000" pitchFamily="2" charset="0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4"/>
        </a:buClr>
        <a:buSzPct val="120000"/>
        <a:buFont typeface="Arial" panose="020B0604020202020204" pitchFamily="34" charset="0"/>
        <a:buChar char="•"/>
        <a:defRPr sz="1800" b="0" i="0" kern="1200" spc="-40" baseline="0">
          <a:solidFill>
            <a:schemeClr val="tx1"/>
          </a:solidFill>
          <a:latin typeface="+mn-lt"/>
          <a:ea typeface="Roboto Light" panose="02000000000000000000" pitchFamily="2" charset="0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4"/>
        </a:buClr>
        <a:buSzPct val="120000"/>
        <a:buFont typeface="Arial" panose="020B0604020202020204" pitchFamily="34" charset="0"/>
        <a:buChar char="•"/>
        <a:defRPr sz="1600" b="0" i="0" kern="1200" spc="-40" baseline="0">
          <a:solidFill>
            <a:schemeClr val="tx1"/>
          </a:solidFill>
          <a:latin typeface="+mn-lt"/>
          <a:ea typeface="Roboto Light" panose="02000000000000000000" pitchFamily="2" charset="0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accent4"/>
        </a:buClr>
        <a:buSzPct val="120000"/>
        <a:buFont typeface="Arial" panose="020B0604020202020204" pitchFamily="34" charset="0"/>
        <a:buChar char="•"/>
        <a:defRPr sz="1400" b="0" i="0" kern="1200" spc="-40" baseline="0">
          <a:solidFill>
            <a:schemeClr val="tx1"/>
          </a:solidFill>
          <a:latin typeface="+mn-lt"/>
          <a:ea typeface="Roboto Light" panose="02000000000000000000" pitchFamily="2" charset="0"/>
          <a:cs typeface="+mn-cs"/>
        </a:defRPr>
      </a:lvl4pPr>
      <a:lvl5pPr marL="2000250" indent="-171450" algn="l" defTabSz="914400" rtl="0" eaLnBrk="1" latinLnBrk="0" hangingPunct="1">
        <a:lnSpc>
          <a:spcPct val="110000"/>
        </a:lnSpc>
        <a:spcBef>
          <a:spcPts val="500"/>
        </a:spcBef>
        <a:buClr>
          <a:schemeClr val="accent4"/>
        </a:buClr>
        <a:buSzPct val="120000"/>
        <a:buFont typeface="Nunito Sans Light" panose="00000400000000000000" pitchFamily="2" charset="0"/>
        <a:buChar char="​"/>
        <a:defRPr sz="1200" b="0" i="0" kern="1200" spc="-40" baseline="0">
          <a:solidFill>
            <a:schemeClr val="tx1"/>
          </a:solidFill>
          <a:latin typeface="+mn-lt"/>
          <a:ea typeface="Roboto Light" panose="02000000000000000000" pitchFamily="2" charset="0"/>
          <a:cs typeface="+mn-cs"/>
        </a:defRPr>
      </a:lvl5pPr>
      <a:lvl6pPr marL="2286000" indent="0" algn="l" defTabSz="914400" rtl="0" eaLnBrk="1" latinLnBrk="0" hangingPunct="1">
        <a:lnSpc>
          <a:spcPct val="90000"/>
        </a:lnSpc>
        <a:spcBef>
          <a:spcPts val="500"/>
        </a:spcBef>
        <a:buFont typeface="Nunito Sans Light" panose="00000400000000000000" pitchFamily="2" charset="0"/>
        <a:buChar char="​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07">
          <p15:clr>
            <a:srgbClr val="F26B43"/>
          </p15:clr>
        </p15:guide>
        <p15:guide id="2" pos="432">
          <p15:clr>
            <a:srgbClr val="F26B43"/>
          </p15:clr>
        </p15:guide>
        <p15:guide id="3" pos="7233">
          <p15:clr>
            <a:srgbClr val="F26B43"/>
          </p15:clr>
        </p15:guide>
        <p15:guide id="4" orient="horz" pos="1008">
          <p15:clr>
            <a:srgbClr val="F26B43"/>
          </p15:clr>
        </p15:guide>
        <p15:guide id="5" orient="horz" pos="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D825DF-445B-4777-873B-65D6CC69B20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tudent Analytics</a:t>
            </a:r>
            <a:br>
              <a:rPr lang="en-US" dirty="0"/>
            </a:br>
            <a:r>
              <a:rPr lang="en-US" dirty="0"/>
              <a:t>Task Force Strateg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E186F32-23EB-4079-9B13-FEFBBBF8505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Basic Guideline</a:t>
            </a:r>
          </a:p>
        </p:txBody>
      </p:sp>
    </p:spTree>
    <p:extLst>
      <p:ext uri="{BB962C8B-B14F-4D97-AF65-F5344CB8AC3E}">
        <p14:creationId xmlns:p14="http://schemas.microsoft.com/office/powerpoint/2010/main" val="21855666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FB5F9F-01A6-4C5C-BDEF-E7DFD2D15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ting Start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41782A-FB1D-4197-976F-FC5AE453DB0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 algn="ctr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dirty="0"/>
              <a:t>Analytics and Reporting can become overwhelming without a strategy plan in place.</a:t>
            </a:r>
          </a:p>
          <a:p>
            <a:pPr marL="0" indent="0" algn="ctr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dirty="0"/>
              <a:t>Anthology is sharing a guide to help give an overview on creating your own task force.</a:t>
            </a:r>
          </a:p>
          <a:p>
            <a:pPr marL="0" indent="0" algn="ctr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dirty="0"/>
              <a:t>Use this guide to help get you started, which can be edited, and altered to fit your specific needs</a:t>
            </a:r>
          </a:p>
        </p:txBody>
      </p:sp>
    </p:spTree>
    <p:extLst>
      <p:ext uri="{BB962C8B-B14F-4D97-AF65-F5344CB8AC3E}">
        <p14:creationId xmlns:p14="http://schemas.microsoft.com/office/powerpoint/2010/main" val="30124186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FB5F9F-01A6-4C5C-BDEF-E7DFD2D15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alytics/Reporting Task For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41782A-FB1D-4197-976F-FC5AE453DB0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b="1" dirty="0"/>
              <a:t>Goals:</a:t>
            </a:r>
          </a:p>
          <a:p>
            <a:pPr marL="342900" indent="-342900"/>
            <a:r>
              <a:rPr lang="en-US" dirty="0"/>
              <a:t>KPIs that are Accurate &amp; Actionable</a:t>
            </a:r>
          </a:p>
          <a:p>
            <a:pPr marL="342900" indent="-342900"/>
            <a:r>
              <a:rPr lang="en-US" dirty="0"/>
              <a:t>Action Plans with Accountability </a:t>
            </a:r>
          </a:p>
          <a:p>
            <a:pPr marL="342900" indent="-342900"/>
            <a:r>
              <a:rPr lang="en-US" dirty="0"/>
              <a:t>Consistent Design/Navigation Standards across the institution</a:t>
            </a:r>
          </a:p>
          <a:p>
            <a:pPr marL="342900" indent="-342900"/>
            <a:r>
              <a:rPr lang="en-US" dirty="0"/>
              <a:t>Collaborative Input &amp; Requirements with Institutional Process Experts</a:t>
            </a:r>
          </a:p>
          <a:p>
            <a:pPr marL="342900" indent="-342900"/>
            <a:r>
              <a:rPr lang="en-US" dirty="0"/>
              <a:t>Ensure Data Integrity</a:t>
            </a:r>
          </a:p>
          <a:p>
            <a:pPr marL="342900" indent="-342900"/>
            <a:r>
              <a:rPr lang="en-US" dirty="0"/>
              <a:t>Single source of the truth</a:t>
            </a:r>
          </a:p>
          <a:p>
            <a:pPr marL="342900" indent="-342900"/>
            <a:r>
              <a:rPr lang="en-US" dirty="0"/>
              <a:t>Pervasive Accessibility</a:t>
            </a:r>
          </a:p>
          <a:p>
            <a:pPr marL="342900" indent="-342900"/>
            <a:r>
              <a:rPr lang="en-US" dirty="0"/>
              <a:t>Catalyst for Continuous Improvement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59897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FB5F9F-01A6-4C5C-BDEF-E7DFD2D15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alytics/Reporting Task For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41782A-FB1D-4197-976F-FC5AE453DB0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sz="2800" b="1" dirty="0"/>
              <a:t>Governance:</a:t>
            </a:r>
          </a:p>
          <a:p>
            <a:pPr marL="342900" indent="-342900"/>
            <a:r>
              <a:rPr lang="en-US" dirty="0"/>
              <a:t>Leverage Microsoft </a:t>
            </a:r>
            <a:r>
              <a:rPr lang="en-US" dirty="0" err="1"/>
              <a:t>PowerBI</a:t>
            </a:r>
            <a:r>
              <a:rPr lang="en-US" dirty="0"/>
              <a:t> (Business Intelligence) Analytics platform</a:t>
            </a:r>
          </a:p>
          <a:p>
            <a:pPr marL="342900" indent="-342900"/>
            <a:r>
              <a:rPr lang="en-US" dirty="0"/>
              <a:t>Data sourced from Anthology Student &amp; Anthology Finance</a:t>
            </a:r>
          </a:p>
          <a:p>
            <a:pPr marL="342900" indent="-342900"/>
            <a:r>
              <a:rPr lang="en-US" dirty="0"/>
              <a:t>Select an Analytics Institutional </a:t>
            </a:r>
            <a:r>
              <a:rPr lang="en-US" dirty="0" err="1"/>
              <a:t>GateKeeper</a:t>
            </a:r>
            <a:r>
              <a:rPr lang="en-US" dirty="0"/>
              <a:t> as Facilitator</a:t>
            </a:r>
          </a:p>
          <a:p>
            <a:pPr marL="342900" indent="-342900"/>
            <a:r>
              <a:rPr lang="en-US" dirty="0"/>
              <a:t>Process Experts from Academics, Admissions, Finance, and others as needed, on the Task Force</a:t>
            </a:r>
          </a:p>
          <a:p>
            <a:pPr marL="342900" indent="-342900"/>
            <a:r>
              <a:rPr lang="en-US" dirty="0"/>
              <a:t>Schedule Bi-weekly meetings</a:t>
            </a:r>
          </a:p>
          <a:p>
            <a:pPr marL="342900" indent="-342900"/>
            <a:r>
              <a:rPr lang="en-US" dirty="0"/>
              <a:t>30-day Check Point presentation to University Leadership</a:t>
            </a:r>
          </a:p>
          <a:p>
            <a:pPr marL="342900" indent="-342900"/>
            <a:r>
              <a:rPr lang="en-US" dirty="0"/>
              <a:t> Prototype Dashboards made available to Task Force for review</a:t>
            </a:r>
          </a:p>
          <a:p>
            <a:pPr marL="342900" indent="-342900"/>
            <a:r>
              <a:rPr lang="en-US" dirty="0"/>
              <a:t>Deployment Methodology (Who, what, where &amp; when)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i="1" dirty="0"/>
              <a:t>Facilitator responsible for Publishing approved Dashboards to pre-defined groups for read only easy access based on a release schedule and communication pla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92476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FB5F9F-01A6-4C5C-BDEF-E7DFD2D15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alytics/Reporting Task For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41782A-FB1D-4197-976F-FC5AE453DB0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en-US" sz="2800" b="1" dirty="0"/>
              <a:t>Phase One:</a:t>
            </a:r>
          </a:p>
          <a:p>
            <a:pPr marL="342900" indent="-342900"/>
            <a:r>
              <a:rPr lang="en-US" sz="2900" dirty="0"/>
              <a:t>Presentation and Approval of Analytics Task Force by Executive Sponsor</a:t>
            </a:r>
          </a:p>
          <a:p>
            <a:pPr marL="342900" indent="-342900"/>
            <a:r>
              <a:rPr lang="en-US" sz="2900" dirty="0"/>
              <a:t>Proposed Members:</a:t>
            </a:r>
          </a:p>
          <a:p>
            <a:pPr marL="800100" lvl="1" indent="-342900"/>
            <a:r>
              <a:rPr lang="en-US" sz="2600" dirty="0"/>
              <a:t>Facilitator/</a:t>
            </a:r>
            <a:r>
              <a:rPr lang="en-US" sz="2600" dirty="0" err="1"/>
              <a:t>GateKeeper</a:t>
            </a:r>
            <a:endParaRPr lang="en-US" sz="2600" dirty="0"/>
          </a:p>
          <a:p>
            <a:pPr marL="800100" lvl="1" indent="-342900"/>
            <a:r>
              <a:rPr lang="en-US" sz="2600" dirty="0"/>
              <a:t>Admissions Process Expert</a:t>
            </a:r>
          </a:p>
          <a:p>
            <a:pPr marL="800100" lvl="1" indent="-342900"/>
            <a:r>
              <a:rPr lang="en-US" sz="2600" dirty="0"/>
              <a:t>IR Process Expert</a:t>
            </a:r>
          </a:p>
          <a:p>
            <a:pPr marL="800100" lvl="1" indent="-342900"/>
            <a:r>
              <a:rPr lang="en-US" sz="2600" dirty="0"/>
              <a:t>Enrollment Process Expert</a:t>
            </a:r>
          </a:p>
          <a:p>
            <a:pPr marL="800100" lvl="1" indent="-342900"/>
            <a:r>
              <a:rPr lang="en-US" sz="2600" dirty="0"/>
              <a:t>Finance Process Expert</a:t>
            </a:r>
          </a:p>
          <a:p>
            <a:pPr marL="800100" lvl="1" indent="-342900"/>
            <a:r>
              <a:rPr lang="en-US" sz="2600" dirty="0"/>
              <a:t>Academics Process Expert</a:t>
            </a:r>
          </a:p>
          <a:p>
            <a:pPr marL="342900" indent="-342900"/>
            <a:r>
              <a:rPr lang="en-US" sz="2900" dirty="0"/>
              <a:t>Kick – Off Session </a:t>
            </a:r>
          </a:p>
        </p:txBody>
      </p:sp>
    </p:spTree>
    <p:extLst>
      <p:ext uri="{BB962C8B-B14F-4D97-AF65-F5344CB8AC3E}">
        <p14:creationId xmlns:p14="http://schemas.microsoft.com/office/powerpoint/2010/main" val="27845488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FB5F9F-01A6-4C5C-BDEF-E7DFD2D15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alytics/Reporting Task For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41782A-FB1D-4197-976F-FC5AE453DB0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800" b="1" dirty="0"/>
              <a:t>Phase One Continued:</a:t>
            </a:r>
          </a:p>
          <a:p>
            <a:pPr marL="342900" indent="-342900"/>
            <a:r>
              <a:rPr lang="en-US" sz="2900" dirty="0"/>
              <a:t>Schedule first Bi-weekly meeting </a:t>
            </a:r>
          </a:p>
          <a:p>
            <a:pPr marL="800100" lvl="1" indent="-342900"/>
            <a:r>
              <a:rPr lang="en-US" sz="2600" dirty="0"/>
              <a:t>Determine one basic KPI/Dashboard for each area </a:t>
            </a:r>
          </a:p>
          <a:p>
            <a:pPr marL="800100" lvl="1" indent="-342900"/>
            <a:r>
              <a:rPr lang="en-US" sz="2600" dirty="0"/>
              <a:t>Determine Action Plan for selected KPI/Dashboards</a:t>
            </a:r>
          </a:p>
          <a:p>
            <a:pPr marL="342900" indent="-342900"/>
            <a:r>
              <a:rPr lang="en-US" sz="2900" dirty="0"/>
              <a:t>30-day Check Point presentation to University Leadership</a:t>
            </a:r>
          </a:p>
          <a:p>
            <a:pPr marL="342900" indent="-342900"/>
            <a:r>
              <a:rPr lang="en-US" sz="2900" dirty="0"/>
              <a:t>Deployment of Task Force approved Dashboards</a:t>
            </a:r>
          </a:p>
        </p:txBody>
      </p:sp>
    </p:spTree>
    <p:extLst>
      <p:ext uri="{BB962C8B-B14F-4D97-AF65-F5344CB8AC3E}">
        <p14:creationId xmlns:p14="http://schemas.microsoft.com/office/powerpoint/2010/main" val="13829724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FB5F9F-01A6-4C5C-BDEF-E7DFD2D15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alytics/Reporting Task For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41782A-FB1D-4197-976F-FC5AE453DB03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800" b="1" dirty="0"/>
              <a:t>Phase Two:</a:t>
            </a:r>
          </a:p>
          <a:p>
            <a:pPr marL="342900" indent="-342900"/>
            <a:r>
              <a:rPr lang="en-US" sz="2900" dirty="0"/>
              <a:t>Identify potential dashboards beyond Anthology Student and Anthology Finance</a:t>
            </a:r>
          </a:p>
          <a:p>
            <a:pPr marL="342900" indent="-342900"/>
            <a:r>
              <a:rPr lang="en-US" sz="2900" dirty="0"/>
              <a:t>30-day Check Point presentation to University Leadership</a:t>
            </a:r>
          </a:p>
          <a:p>
            <a:pPr marL="342900" indent="-342900"/>
            <a:r>
              <a:rPr lang="en-US" sz="2900" dirty="0"/>
              <a:t>Deployment of Task Force approved Dashboards</a:t>
            </a:r>
          </a:p>
        </p:txBody>
      </p:sp>
    </p:spTree>
    <p:extLst>
      <p:ext uri="{BB962C8B-B14F-4D97-AF65-F5344CB8AC3E}">
        <p14:creationId xmlns:p14="http://schemas.microsoft.com/office/powerpoint/2010/main" val="33662319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D5474A24-A4C9-46E3-A41E-D983A89334B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43813682"/>
              </p:ext>
            </p:extLst>
          </p:nvPr>
        </p:nvGraphicFramePr>
        <p:xfrm>
          <a:off x="2032000" y="2069251"/>
          <a:ext cx="8128000" cy="37833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7C50C0A8-696B-4B7B-BB5C-3DC057C9E18F}"/>
              </a:ext>
            </a:extLst>
          </p:cNvPr>
          <p:cNvSpPr txBox="1"/>
          <p:nvPr/>
        </p:nvSpPr>
        <p:spPr>
          <a:xfrm>
            <a:off x="2752211" y="5096907"/>
            <a:ext cx="66875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Data Integrity – Design standards – Pervasive Accessibility -Action Plans</a:t>
            </a:r>
          </a:p>
        </p:txBody>
      </p:sp>
      <p:sp>
        <p:nvSpPr>
          <p:cNvPr id="5" name="Block Arc 4">
            <a:extLst>
              <a:ext uri="{FF2B5EF4-FFF2-40B4-BE49-F238E27FC236}">
                <a16:creationId xmlns:a16="http://schemas.microsoft.com/office/drawing/2014/main" id="{0D19AF72-69CA-419E-A16D-C1BE55A70E99}"/>
              </a:ext>
            </a:extLst>
          </p:cNvPr>
          <p:cNvSpPr/>
          <p:nvPr/>
        </p:nvSpPr>
        <p:spPr>
          <a:xfrm>
            <a:off x="1716657" y="740783"/>
            <a:ext cx="8652294" cy="1846053"/>
          </a:xfrm>
          <a:prstGeom prst="blockArc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A5626E5-A5D5-4FD3-9E73-1AF31F636EEB}"/>
              </a:ext>
            </a:extLst>
          </p:cNvPr>
          <p:cNvSpPr txBox="1"/>
          <p:nvPr/>
        </p:nvSpPr>
        <p:spPr>
          <a:xfrm>
            <a:off x="3135702" y="851019"/>
            <a:ext cx="58142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KPI/Dashboards Phase 1</a:t>
            </a:r>
          </a:p>
        </p:txBody>
      </p:sp>
    </p:spTree>
    <p:extLst>
      <p:ext uri="{BB962C8B-B14F-4D97-AF65-F5344CB8AC3E}">
        <p14:creationId xmlns:p14="http://schemas.microsoft.com/office/powerpoint/2010/main" val="5353946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16AFF17F-36C1-4D36-A1BC-16C2E59278E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graphicEl>
                                              <a:dgm id="{16AFF17F-36C1-4D36-A1BC-16C2E59278E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graphicEl>
                                              <a:dgm id="{16AFF17F-36C1-4D36-A1BC-16C2E59278E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graphicEl>
                                              <a:dgm id="{16AFF17F-36C1-4D36-A1BC-16C2E59278E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A764E457-3AC6-4386-AADE-F64BA54005E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graphicEl>
                                              <a:dgm id="{A764E457-3AC6-4386-AADE-F64BA54005E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graphicEl>
                                              <a:dgm id="{A764E457-3AC6-4386-AADE-F64BA54005EC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graphicEl>
                                              <a:dgm id="{A764E457-3AC6-4386-AADE-F64BA54005EC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ECC6DFE3-68C2-4C1B-9AE4-F25A739B6E6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graphicEl>
                                              <a:dgm id="{ECC6DFE3-68C2-4C1B-9AE4-F25A739B6E6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graphicEl>
                                              <a:dgm id="{ECC6DFE3-68C2-4C1B-9AE4-F25A739B6E6D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graphicEl>
                                              <a:dgm id="{ECC6DFE3-68C2-4C1B-9AE4-F25A739B6E6D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7FB773B4-9BAE-4ABE-9F22-2F15BE0CF1C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3">
                                            <p:graphicEl>
                                              <a:dgm id="{7FB773B4-9BAE-4ABE-9F22-2F15BE0CF1C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">
                                            <p:graphicEl>
                                              <a:dgm id="{7FB773B4-9BAE-4ABE-9F22-2F15BE0CF1C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">
                                            <p:graphicEl>
                                              <a:dgm id="{7FB773B4-9BAE-4ABE-9F22-2F15BE0CF1C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084680F7-4EEF-46E5-8044-905449814E2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">
                                            <p:graphicEl>
                                              <a:dgm id="{084680F7-4EEF-46E5-8044-905449814E2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">
                                            <p:graphicEl>
                                              <a:dgm id="{084680F7-4EEF-46E5-8044-905449814E2D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>
                                            <p:graphicEl>
                                              <a:dgm id="{084680F7-4EEF-46E5-8044-905449814E2D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770A19E3-379B-4C00-87FC-54CAA70BF40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3">
                                            <p:graphicEl>
                                              <a:dgm id="{770A19E3-379B-4C00-87FC-54CAA70BF40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">
                                            <p:graphicEl>
                                              <a:dgm id="{770A19E3-379B-4C00-87FC-54CAA70BF40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3">
                                            <p:graphicEl>
                                              <a:dgm id="{770A19E3-379B-4C00-87FC-54CAA70BF40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E0448EB4-A1FA-4B5C-A7BD-578D099C49C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3">
                                            <p:graphicEl>
                                              <a:dgm id="{E0448EB4-A1FA-4B5C-A7BD-578D099C49C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">
                                            <p:graphicEl>
                                              <a:dgm id="{E0448EB4-A1FA-4B5C-A7BD-578D099C49C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3">
                                            <p:graphicEl>
                                              <a:dgm id="{E0448EB4-A1FA-4B5C-A7BD-578D099C49C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89545B0D-0715-41D8-85BD-D60024ADB72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3">
                                            <p:graphicEl>
                                              <a:dgm id="{89545B0D-0715-41D8-85BD-D60024ADB72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3">
                                            <p:graphicEl>
                                              <a:dgm id="{89545B0D-0715-41D8-85BD-D60024ADB72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3">
                                            <p:graphicEl>
                                              <a:dgm id="{89545B0D-0715-41D8-85BD-D60024ADB72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F20D745B-2BAC-4CA5-B147-E2826F4F995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3">
                                            <p:graphicEl>
                                              <a:dgm id="{F20D745B-2BAC-4CA5-B147-E2826F4F995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3">
                                            <p:graphicEl>
                                              <a:dgm id="{F20D745B-2BAC-4CA5-B147-E2826F4F995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3">
                                            <p:graphicEl>
                                              <a:dgm id="{F20D745B-2BAC-4CA5-B147-E2826F4F995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 uiExpand="1">
        <p:bldSub>
          <a:bldDgm bld="one"/>
        </p:bldSub>
      </p:bldGraphic>
      <p:bldP spid="4" grpId="0"/>
      <p:bldP spid="5" grpId="0" animBg="1"/>
      <p:bldP spid="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25619E77-B878-458A-ABDC-1E5479A1032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36555118"/>
              </p:ext>
            </p:extLst>
          </p:nvPr>
        </p:nvGraphicFramePr>
        <p:xfrm>
          <a:off x="871268" y="2355011"/>
          <a:ext cx="10765766" cy="37697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31BC8533-F882-4DBF-835F-81455E8D3979}"/>
              </a:ext>
            </a:extLst>
          </p:cNvPr>
          <p:cNvSpPr txBox="1"/>
          <p:nvPr/>
        </p:nvSpPr>
        <p:spPr>
          <a:xfrm>
            <a:off x="1649365" y="5282628"/>
            <a:ext cx="92095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Data Integrity – Design standards – Pervasive Accessibility -Action Plans - Accountability</a:t>
            </a:r>
          </a:p>
        </p:txBody>
      </p:sp>
      <p:sp>
        <p:nvSpPr>
          <p:cNvPr id="5" name="Block Arc 4">
            <a:extLst>
              <a:ext uri="{FF2B5EF4-FFF2-40B4-BE49-F238E27FC236}">
                <a16:creationId xmlns:a16="http://schemas.microsoft.com/office/drawing/2014/main" id="{DB7A132D-953E-46D4-8ADF-63B3C7307EE0}"/>
              </a:ext>
            </a:extLst>
          </p:cNvPr>
          <p:cNvSpPr/>
          <p:nvPr/>
        </p:nvSpPr>
        <p:spPr>
          <a:xfrm>
            <a:off x="974785" y="1216325"/>
            <a:ext cx="4546121" cy="1656271"/>
          </a:xfrm>
          <a:prstGeom prst="blockArc">
            <a:avLst>
              <a:gd name="adj1" fmla="val 10787874"/>
              <a:gd name="adj2" fmla="val 0"/>
              <a:gd name="adj3" fmla="val 25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8C495AB-242E-4414-BE20-E25F9548F9A1}"/>
              </a:ext>
            </a:extLst>
          </p:cNvPr>
          <p:cNvSpPr txBox="1"/>
          <p:nvPr/>
        </p:nvSpPr>
        <p:spPr>
          <a:xfrm>
            <a:off x="1831765" y="1275604"/>
            <a:ext cx="27167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hase 1</a:t>
            </a:r>
          </a:p>
        </p:txBody>
      </p:sp>
      <p:sp>
        <p:nvSpPr>
          <p:cNvPr id="7" name="Block Arc 6">
            <a:extLst>
              <a:ext uri="{FF2B5EF4-FFF2-40B4-BE49-F238E27FC236}">
                <a16:creationId xmlns:a16="http://schemas.microsoft.com/office/drawing/2014/main" id="{9BC13EB2-6E39-4307-8AA7-7279A4E27133}"/>
              </a:ext>
            </a:extLst>
          </p:cNvPr>
          <p:cNvSpPr/>
          <p:nvPr/>
        </p:nvSpPr>
        <p:spPr>
          <a:xfrm>
            <a:off x="6035615" y="1216325"/>
            <a:ext cx="5180162" cy="1656271"/>
          </a:xfrm>
          <a:prstGeom prst="blockArc">
            <a:avLst>
              <a:gd name="adj1" fmla="val 10787874"/>
              <a:gd name="adj2" fmla="val 0"/>
              <a:gd name="adj3" fmla="val 25000"/>
            </a:avLst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B1D8C6-3943-43E8-929D-93B4177E5B57}"/>
              </a:ext>
            </a:extLst>
          </p:cNvPr>
          <p:cNvSpPr txBox="1"/>
          <p:nvPr/>
        </p:nvSpPr>
        <p:spPr>
          <a:xfrm>
            <a:off x="6815452" y="1275604"/>
            <a:ext cx="36204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hase 2</a:t>
            </a:r>
          </a:p>
        </p:txBody>
      </p:sp>
      <p:sp>
        <p:nvSpPr>
          <p:cNvPr id="9" name="Block Arc 8">
            <a:extLst>
              <a:ext uri="{FF2B5EF4-FFF2-40B4-BE49-F238E27FC236}">
                <a16:creationId xmlns:a16="http://schemas.microsoft.com/office/drawing/2014/main" id="{B9F97EEF-7150-4177-952A-0393FD206E78}"/>
              </a:ext>
            </a:extLst>
          </p:cNvPr>
          <p:cNvSpPr/>
          <p:nvPr/>
        </p:nvSpPr>
        <p:spPr>
          <a:xfrm>
            <a:off x="974785" y="218371"/>
            <a:ext cx="10489721" cy="1656271"/>
          </a:xfrm>
          <a:prstGeom prst="blockArc">
            <a:avLst>
              <a:gd name="adj1" fmla="val 10787874"/>
              <a:gd name="adj2" fmla="val 0"/>
              <a:gd name="adj3" fmla="val 25000"/>
            </a:avLst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DE518DA-B810-4103-842E-BF40BBF39D3F}"/>
              </a:ext>
            </a:extLst>
          </p:cNvPr>
          <p:cNvSpPr txBox="1"/>
          <p:nvPr/>
        </p:nvSpPr>
        <p:spPr>
          <a:xfrm>
            <a:off x="2672482" y="277650"/>
            <a:ext cx="6726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Institutional KPI/Dashboards</a:t>
            </a:r>
          </a:p>
        </p:txBody>
      </p:sp>
    </p:spTree>
    <p:extLst>
      <p:ext uri="{BB962C8B-B14F-4D97-AF65-F5344CB8AC3E}">
        <p14:creationId xmlns:p14="http://schemas.microsoft.com/office/powerpoint/2010/main" val="20613641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16AFF17F-36C1-4D36-A1BC-16C2E59278E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graphicEl>
                                              <a:dgm id="{16AFF17F-36C1-4D36-A1BC-16C2E59278E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graphicEl>
                                              <a:dgm id="{16AFF17F-36C1-4D36-A1BC-16C2E59278E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graphicEl>
                                              <a:dgm id="{16AFF17F-36C1-4D36-A1BC-16C2E59278E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A764E457-3AC6-4386-AADE-F64BA54005E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graphicEl>
                                              <a:dgm id="{A764E457-3AC6-4386-AADE-F64BA54005E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graphicEl>
                                              <a:dgm id="{A764E457-3AC6-4386-AADE-F64BA54005EC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graphicEl>
                                              <a:dgm id="{A764E457-3AC6-4386-AADE-F64BA54005EC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ECC6DFE3-68C2-4C1B-9AE4-F25A739B6E6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graphicEl>
                                              <a:dgm id="{ECC6DFE3-68C2-4C1B-9AE4-F25A739B6E6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graphicEl>
                                              <a:dgm id="{ECC6DFE3-68C2-4C1B-9AE4-F25A739B6E6D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graphicEl>
                                              <a:dgm id="{ECC6DFE3-68C2-4C1B-9AE4-F25A739B6E6D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7FB773B4-9BAE-4ABE-9F22-2F15BE0CF1C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3">
                                            <p:graphicEl>
                                              <a:dgm id="{7FB773B4-9BAE-4ABE-9F22-2F15BE0CF1C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">
                                            <p:graphicEl>
                                              <a:dgm id="{7FB773B4-9BAE-4ABE-9F22-2F15BE0CF1C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">
                                            <p:graphicEl>
                                              <a:dgm id="{7FB773B4-9BAE-4ABE-9F22-2F15BE0CF1C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084680F7-4EEF-46E5-8044-905449814E2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">
                                            <p:graphicEl>
                                              <a:dgm id="{084680F7-4EEF-46E5-8044-905449814E2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">
                                            <p:graphicEl>
                                              <a:dgm id="{084680F7-4EEF-46E5-8044-905449814E2D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>
                                            <p:graphicEl>
                                              <a:dgm id="{084680F7-4EEF-46E5-8044-905449814E2D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770A19E3-379B-4C00-87FC-54CAA70BF40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3">
                                            <p:graphicEl>
                                              <a:dgm id="{770A19E3-379B-4C00-87FC-54CAA70BF40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">
                                            <p:graphicEl>
                                              <a:dgm id="{770A19E3-379B-4C00-87FC-54CAA70BF40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3">
                                            <p:graphicEl>
                                              <a:dgm id="{770A19E3-379B-4C00-87FC-54CAA70BF40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E0448EB4-A1FA-4B5C-A7BD-578D099C49C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3">
                                            <p:graphicEl>
                                              <a:dgm id="{E0448EB4-A1FA-4B5C-A7BD-578D099C49C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">
                                            <p:graphicEl>
                                              <a:dgm id="{E0448EB4-A1FA-4B5C-A7BD-578D099C49C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3">
                                            <p:graphicEl>
                                              <a:dgm id="{E0448EB4-A1FA-4B5C-A7BD-578D099C49C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89545B0D-0715-41D8-85BD-D60024ADB72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3">
                                            <p:graphicEl>
                                              <a:dgm id="{89545B0D-0715-41D8-85BD-D60024ADB72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3">
                                            <p:graphicEl>
                                              <a:dgm id="{89545B0D-0715-41D8-85BD-D60024ADB72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3">
                                            <p:graphicEl>
                                              <a:dgm id="{89545B0D-0715-41D8-85BD-D60024ADB72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F20D745B-2BAC-4CA5-B147-E2826F4F995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3">
                                            <p:graphicEl>
                                              <a:dgm id="{F20D745B-2BAC-4CA5-B147-E2826F4F995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3">
                                            <p:graphicEl>
                                              <a:dgm id="{F20D745B-2BAC-4CA5-B147-E2826F4F995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3">
                                            <p:graphicEl>
                                              <a:dgm id="{F20D745B-2BAC-4CA5-B147-E2826F4F995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186DF7BC-8B7A-4045-8742-54C5FF371FB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3">
                                            <p:graphicEl>
                                              <a:dgm id="{186DF7BC-8B7A-4045-8742-54C5FF371FB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3">
                                            <p:graphicEl>
                                              <a:dgm id="{186DF7BC-8B7A-4045-8742-54C5FF371FBE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3">
                                            <p:graphicEl>
                                              <a:dgm id="{186DF7BC-8B7A-4045-8742-54C5FF371FBE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0D58C0E9-709A-407A-928F-CA7F5F5784E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3">
                                            <p:graphicEl>
                                              <a:dgm id="{0D58C0E9-709A-407A-928F-CA7F5F5784E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3">
                                            <p:graphicEl>
                                              <a:dgm id="{0D58C0E9-709A-407A-928F-CA7F5F5784E9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3">
                                            <p:graphicEl>
                                              <a:dgm id="{0D58C0E9-709A-407A-928F-CA7F5F5784E9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830828F9-3833-4FEE-BFE7-A0C082125B6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3">
                                            <p:graphicEl>
                                              <a:dgm id="{830828F9-3833-4FEE-BFE7-A0C082125B6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3">
                                            <p:graphicEl>
                                              <a:dgm id="{830828F9-3833-4FEE-BFE7-A0C082125B6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3">
                                            <p:graphicEl>
                                              <a:dgm id="{830828F9-3833-4FEE-BFE7-A0C082125B6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D5A2D323-B217-49E2-BCB8-359BC085F75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3">
                                            <p:graphicEl>
                                              <a:dgm id="{D5A2D323-B217-49E2-BCB8-359BC085F75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3">
                                            <p:graphicEl>
                                              <a:dgm id="{D5A2D323-B217-49E2-BCB8-359BC085F75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3">
                                            <p:graphicEl>
                                              <a:dgm id="{D5A2D323-B217-49E2-BCB8-359BC085F75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4FF33758-F335-4D46-BDDA-51D39FF52C0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3">
                                            <p:graphicEl>
                                              <a:dgm id="{4FF33758-F335-4D46-BDDA-51D39FF52C0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3">
                                            <p:graphicEl>
                                              <a:dgm id="{4FF33758-F335-4D46-BDDA-51D39FF52C0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3">
                                            <p:graphicEl>
                                              <a:dgm id="{4FF33758-F335-4D46-BDDA-51D39FF52C0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33DCFAFF-FA9E-477E-BE1A-1E1023EBA30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1000"/>
                                        <p:tgtEl>
                                          <p:spTgt spid="3">
                                            <p:graphicEl>
                                              <a:dgm id="{33DCFAFF-FA9E-477E-BE1A-1E1023EBA30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3">
                                            <p:graphicEl>
                                              <a:dgm id="{33DCFAFF-FA9E-477E-BE1A-1E1023EBA308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3">
                                            <p:graphicEl>
                                              <a:dgm id="{33DCFAFF-FA9E-477E-BE1A-1E1023EBA308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E037BC1A-7652-4136-9836-0F8CA1F37DD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1000"/>
                                        <p:tgtEl>
                                          <p:spTgt spid="3">
                                            <p:graphicEl>
                                              <a:dgm id="{E037BC1A-7652-4136-9836-0F8CA1F37DD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3">
                                            <p:graphicEl>
                                              <a:dgm id="{E037BC1A-7652-4136-9836-0F8CA1F37DDA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3">
                                            <p:graphicEl>
                                              <a:dgm id="{E037BC1A-7652-4136-9836-0F8CA1F37DDA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6F8FACA5-CA8A-4FA0-B00B-6815C9509CF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1000"/>
                                        <p:tgtEl>
                                          <p:spTgt spid="3">
                                            <p:graphicEl>
                                              <a:dgm id="{6F8FACA5-CA8A-4FA0-B00B-6815C9509CF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3">
                                            <p:graphicEl>
                                              <a:dgm id="{6F8FACA5-CA8A-4FA0-B00B-6815C9509CFA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3">
                                            <p:graphicEl>
                                              <a:dgm id="{6F8FACA5-CA8A-4FA0-B00B-6815C9509CFA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6" fill="hold">
                      <p:stCondLst>
                        <p:cond delay="indefinite"/>
                      </p:stCondLst>
                      <p:childTnLst>
                        <p:par>
                          <p:cTn id="107" fill="hold">
                            <p:stCondLst>
                              <p:cond delay="0"/>
                            </p:stCondLst>
                            <p:childTnLst>
                              <p:par>
                                <p:cTn id="10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75DDC3B1-2A52-40A0-9E4A-BFF203B6B72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1000"/>
                                        <p:tgtEl>
                                          <p:spTgt spid="3">
                                            <p:graphicEl>
                                              <a:dgm id="{75DDC3B1-2A52-40A0-9E4A-BFF203B6B72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1" dur="1000" fill="hold"/>
                                        <p:tgtEl>
                                          <p:spTgt spid="3">
                                            <p:graphicEl>
                                              <a:dgm id="{75DDC3B1-2A52-40A0-9E4A-BFF203B6B72D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1000" fill="hold"/>
                                        <p:tgtEl>
                                          <p:spTgt spid="3">
                                            <p:graphicEl>
                                              <a:dgm id="{75DDC3B1-2A52-40A0-9E4A-BFF203B6B72D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A6D5A465-CC65-4FD1-9197-ADE004031CC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1000"/>
                                        <p:tgtEl>
                                          <p:spTgt spid="3">
                                            <p:graphicEl>
                                              <a:dgm id="{A6D5A465-CC65-4FD1-9197-ADE004031CC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3">
                                            <p:graphicEl>
                                              <a:dgm id="{A6D5A465-CC65-4FD1-9197-ADE004031CC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1000" fill="hold"/>
                                        <p:tgtEl>
                                          <p:spTgt spid="3">
                                            <p:graphicEl>
                                              <a:dgm id="{A6D5A465-CC65-4FD1-9197-ADE004031CC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3" fill="hold">
                      <p:stCondLst>
                        <p:cond delay="indefinite"/>
                      </p:stCondLst>
                      <p:childTnLst>
                        <p:par>
                          <p:cTn id="124" fill="hold">
                            <p:stCondLst>
                              <p:cond delay="0"/>
                            </p:stCondLst>
                            <p:childTnLst>
                              <p:par>
                                <p:cTn id="12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1" fill="hold">
                      <p:stCondLst>
                        <p:cond delay="indefinite"/>
                      </p:stCondLst>
                      <p:childTnLst>
                        <p:par>
                          <p:cTn id="132" fill="hold">
                            <p:stCondLst>
                              <p:cond delay="0"/>
                            </p:stCondLst>
                            <p:childTnLst>
                              <p:par>
                                <p:cTn id="13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9" fill="hold">
                      <p:stCondLst>
                        <p:cond delay="indefinite"/>
                      </p:stCondLst>
                      <p:childTnLst>
                        <p:par>
                          <p:cTn id="140" fill="hold">
                            <p:stCondLst>
                              <p:cond delay="0"/>
                            </p:stCondLst>
                            <p:childTnLst>
                              <p:par>
                                <p:cTn id="14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4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4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 uiExpand="1">
        <p:bldSub>
          <a:bldDgm bld="one"/>
        </p:bldSub>
      </p:bldGraphic>
      <p:bldP spid="4" grpId="0"/>
      <p:bldP spid="5" grpId="0" animBg="1"/>
      <p:bldP spid="6" grpId="0"/>
      <p:bldP spid="7" grpId="0" animBg="1"/>
      <p:bldP spid="8" grpId="0"/>
      <p:bldP spid="9" grpId="0" animBg="1"/>
      <p:bldP spid="1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00000000-0000-0000-0000-000000000000"/>
  <p:tag name="MIO_UPDATE" val="True"/>
  <p:tag name="MIO_VERSION" val="01.01.0001 00:00:00"/>
  <p:tag name="MIO_LASTDOWNLOADED" val="01.01.0001 00:00:00.000"/>
  <p:tag name="MIO_FALLBACK_LAYOUT" val="11"/>
  <p:tag name="MIO_SHOW_DATE" val="False"/>
  <p:tag name="MIO_SHOW_FOOTER" val="False"/>
  <p:tag name="MIO_SHOW_PAGENUMBER" val="True"/>
  <p:tag name="MIO_AVOID_BLANK_LAYOUT" val="True"/>
  <p:tag name="MIO_CD_LAYOUT_VALID_AREA" val="True"/>
  <p:tag name="MIO_NUMBER_OF_VALID_LAYOUTS" val="4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Anthology Theme">
  <a:themeElements>
    <a:clrScheme name="Anthology Color Theme">
      <a:dk1>
        <a:srgbClr val="000000"/>
      </a:dk1>
      <a:lt1>
        <a:srgbClr val="FFFFFF"/>
      </a:lt1>
      <a:dk2>
        <a:srgbClr val="2F3039"/>
      </a:dk2>
      <a:lt2>
        <a:srgbClr val="F4F4F4"/>
      </a:lt2>
      <a:accent1>
        <a:srgbClr val="00B1EB"/>
      </a:accent1>
      <a:accent2>
        <a:srgbClr val="8CC63F"/>
      </a:accent2>
      <a:accent3>
        <a:srgbClr val="FFC20E"/>
      </a:accent3>
      <a:accent4>
        <a:srgbClr val="F15A24"/>
      </a:accent4>
      <a:accent5>
        <a:srgbClr val="662C91"/>
      </a:accent5>
      <a:accent6>
        <a:srgbClr val="000000"/>
      </a:accent6>
      <a:hlink>
        <a:srgbClr val="137DA4"/>
      </a:hlink>
      <a:folHlink>
        <a:srgbClr val="000000"/>
      </a:folHlink>
    </a:clrScheme>
    <a:fontScheme name="Anthology Font Theme">
      <a:majorFont>
        <a:latin typeface="Tiempos Headline Bold"/>
        <a:ea typeface=""/>
        <a:cs typeface=""/>
      </a:majorFont>
      <a:minorFont>
        <a:latin typeface="Nunito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nthology_Presentation_Template_v11" id="{79E3C718-C042-5E4A-8C9D-3DF323FBE1C2}" vid="{9E926B31-E540-854C-BB18-4727B7FEA874}"/>
    </a:ext>
  </a:extLst>
</a:theme>
</file>

<file path=ppt/theme/theme2.xml><?xml version="1.0" encoding="utf-8"?>
<a:theme xmlns:a="http://schemas.openxmlformats.org/drawingml/2006/main" name="Office Theme">
  <a:themeElements>
    <a:clrScheme name="Anthology Color Theme">
      <a:dk1>
        <a:srgbClr val="000000"/>
      </a:dk1>
      <a:lt1>
        <a:srgbClr val="FFFFFF"/>
      </a:lt1>
      <a:dk2>
        <a:srgbClr val="2F3039"/>
      </a:dk2>
      <a:lt2>
        <a:srgbClr val="F4F4F4"/>
      </a:lt2>
      <a:accent1>
        <a:srgbClr val="00B1EB"/>
      </a:accent1>
      <a:accent2>
        <a:srgbClr val="8CC63F"/>
      </a:accent2>
      <a:accent3>
        <a:srgbClr val="FFC20E"/>
      </a:accent3>
      <a:accent4>
        <a:srgbClr val="F15A24"/>
      </a:accent4>
      <a:accent5>
        <a:srgbClr val="662C91"/>
      </a:accent5>
      <a:accent6>
        <a:srgbClr val="000000"/>
      </a:accent6>
      <a:hlink>
        <a:srgbClr val="137DA4"/>
      </a:hlink>
      <a:folHlink>
        <a:srgbClr val="000000"/>
      </a:folHlink>
    </a:clrScheme>
    <a:fontScheme name="Anthology Font Theme">
      <a:majorFont>
        <a:latin typeface="Tiempos Headline Bold"/>
        <a:ea typeface=""/>
        <a:cs typeface=""/>
      </a:majorFont>
      <a:minorFont>
        <a:latin typeface="Nunito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nthology Font Theme">
      <a:majorFont>
        <a:latin typeface="Tiempos Headline Bold"/>
        <a:ea typeface=""/>
        <a:cs typeface=""/>
      </a:majorFont>
      <a:minorFont>
        <a:latin typeface="Nunito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c1e4178-edc6-4221-ba25-be5376200420">
      <Terms xmlns="http://schemas.microsoft.com/office/infopath/2007/PartnerControls"/>
    </lcf76f155ced4ddcb4097134ff3c332f>
    <TaxCatchAll xmlns="45591f7e-c536-4156-8457-b02d81cac6e7" xsi:nil="true"/>
    <Comments xmlns="5c1e4178-edc6-4221-ba25-be5376200420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67A56045E19B54A8B901F34FDC5DC14" ma:contentTypeVersion="23" ma:contentTypeDescription="Create a new document." ma:contentTypeScope="" ma:versionID="3dea5532520756b3efda62808631059d">
  <xsd:schema xmlns:xsd="http://www.w3.org/2001/XMLSchema" xmlns:xs="http://www.w3.org/2001/XMLSchema" xmlns:p="http://schemas.microsoft.com/office/2006/metadata/properties" xmlns:ns2="5c1e4178-edc6-4221-ba25-be5376200420" xmlns:ns3="45591f7e-c536-4156-8457-b02d81cac6e7" targetNamespace="http://schemas.microsoft.com/office/2006/metadata/properties" ma:root="true" ma:fieldsID="469ef328245f785aa48e17561a0a10f4" ns2:_="" ns3:_="">
    <xsd:import namespace="5c1e4178-edc6-4221-ba25-be5376200420"/>
    <xsd:import namespace="45591f7e-c536-4156-8457-b02d81cac6e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Comment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c1e4178-edc6-4221-ba25-be537620042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241d28dc-dfd4-4171-b3ef-8c09b5f389b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Comments" ma:index="24" nillable="true" ma:displayName="Comments" ma:format="Dropdown" ma:internalName="Comments">
      <xsd:simpleType>
        <xsd:restriction base="dms:Note">
          <xsd:maxLength value="255"/>
        </xsd:restriction>
      </xsd:simple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591f7e-c536-4156-8457-b02d81cac6e7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acff8f94-4c11-437a-b09c-6aa13db4c580}" ma:internalName="TaxCatchAll" ma:showField="CatchAllData" ma:web="45591f7e-c536-4156-8457-b02d81cac6e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5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786E3D1-BA66-46DE-9247-60B2AB7648E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7C14EFF-3157-4AF5-8AE7-FBDD8B6C5D4C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C721D8E1-8212-4F58-B604-249CA4068C1A}"/>
</file>

<file path=docProps/app.xml><?xml version="1.0" encoding="utf-8"?>
<Properties xmlns="http://schemas.openxmlformats.org/officeDocument/2006/extended-properties" xmlns:vt="http://schemas.openxmlformats.org/officeDocument/2006/docPropsVTypes">
  <Template>Anthology_Presentation_Template_v11 (1)</Template>
  <TotalTime>64</TotalTime>
  <Words>388</Words>
  <Application>Microsoft Office PowerPoint</Application>
  <PresentationFormat>Widescreen</PresentationFormat>
  <Paragraphs>73</Paragraphs>
  <Slides>9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ourier New</vt:lpstr>
      <vt:lpstr>Nunito Sans Light</vt:lpstr>
      <vt:lpstr>Nunito Sans SemiBold</vt:lpstr>
      <vt:lpstr>Tiempos Headline Bold</vt:lpstr>
      <vt:lpstr>Anthology Theme</vt:lpstr>
      <vt:lpstr>Student Analytics Task Force Strategy</vt:lpstr>
      <vt:lpstr>Getting Started</vt:lpstr>
      <vt:lpstr>Analytics/Reporting Task Force</vt:lpstr>
      <vt:lpstr>Analytics/Reporting Task Force</vt:lpstr>
      <vt:lpstr>Analytics/Reporting Task Force</vt:lpstr>
      <vt:lpstr>Analytics/Reporting Task Force</vt:lpstr>
      <vt:lpstr>Analytics/Reporting Task Forc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ORTANT: How do I make accessible slides?</dc:title>
  <dc:creator>Monika Arntz</dc:creator>
  <cp:lastModifiedBy>Monika</cp:lastModifiedBy>
  <cp:revision>1</cp:revision>
  <dcterms:created xsi:type="dcterms:W3CDTF">2021-03-17T14:14:24Z</dcterms:created>
  <dcterms:modified xsi:type="dcterms:W3CDTF">2021-04-20T17:41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67A56045E19B54A8B901F34FDC5DC14</vt:lpwstr>
  </property>
</Properties>
</file>